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02" r:id="rId5"/>
  </p:sldMasterIdLst>
  <p:notesMasterIdLst>
    <p:notesMasterId r:id="rId21"/>
  </p:notesMasterIdLst>
  <p:handoutMasterIdLst>
    <p:handoutMasterId r:id="rId22"/>
  </p:handoutMasterIdLst>
  <p:sldIdLst>
    <p:sldId id="2800" r:id="rId6"/>
    <p:sldId id="2777" r:id="rId7"/>
    <p:sldId id="2779" r:id="rId8"/>
    <p:sldId id="2780" r:id="rId9"/>
    <p:sldId id="2781" r:id="rId10"/>
    <p:sldId id="2782" r:id="rId11"/>
    <p:sldId id="2783" r:id="rId12"/>
    <p:sldId id="330" r:id="rId13"/>
    <p:sldId id="312" r:id="rId14"/>
    <p:sldId id="2776" r:id="rId15"/>
    <p:sldId id="2770" r:id="rId16"/>
    <p:sldId id="2802" r:id="rId17"/>
    <p:sldId id="2803" r:id="rId18"/>
    <p:sldId id="345" r:id="rId19"/>
    <p:sldId id="2754" r:id="rId20"/>
  </p:sldIdLst>
  <p:sldSz cx="13444538" cy="7562850"/>
  <p:notesSz cx="6797675" cy="987266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39" userDrawn="1">
          <p15:clr>
            <a:srgbClr val="A4A3A4"/>
          </p15:clr>
        </p15:guide>
        <p15:guide id="3" orient="horz" pos="4446" userDrawn="1">
          <p15:clr>
            <a:srgbClr val="A4A3A4"/>
          </p15:clr>
        </p15:guide>
        <p15:guide id="4" orient="horz" pos="2814" userDrawn="1">
          <p15:clr>
            <a:srgbClr val="A4A3A4"/>
          </p15:clr>
        </p15:guide>
        <p15:guide id="6" pos="1218" userDrawn="1">
          <p15:clr>
            <a:srgbClr val="A4A3A4"/>
          </p15:clr>
        </p15:guide>
        <p15:guide id="7" pos="79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D7CED8"/>
    <a:srgbClr val="D969CC"/>
    <a:srgbClr val="9B5BA4"/>
    <a:srgbClr val="95519E"/>
    <a:srgbClr val="9B4F96"/>
    <a:srgbClr val="7A3E7F"/>
    <a:srgbClr val="B978BE"/>
    <a:srgbClr val="C5AAC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7A03A2-CA5A-CA15-49C7-FEBB0AF7070C}" v="6" dt="2020-11-02T14:41:37"/>
    <p1510:client id="{A5FDCE48-895E-F458-CE96-4EA6D2DF1FAD}" v="112" dt="2020-11-02T14:40:32.131"/>
    <p1510:client id="{AD23E353-9B7F-D648-9DA7-C51A5A0728C1}" v="27" dt="2020-11-02T14:41:01.929"/>
    <p1510:client id="{CC9B922C-988A-CE14-BE37-A106506ECF19}" v="1" dt="2020-11-02T14:17:54.24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61" d="100"/>
          <a:sy n="61" d="100"/>
        </p:scale>
        <p:origin x="825" y="396"/>
      </p:cViewPr>
      <p:guideLst>
        <p:guide orient="horz" pos="1339"/>
        <p:guide orient="horz" pos="4446"/>
        <p:guide orient="horz" pos="2814"/>
        <p:guide pos="1218"/>
        <p:guide pos="799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530" y="1"/>
            <a:ext cx="2946058" cy="4957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420D66-B6E6-45A5-B9B7-AB02254A7B48}" type="datetimeFigureOut">
              <a:rPr lang="en-GB" smtClean="0"/>
              <a:t>25/11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6955"/>
            <a:ext cx="2946058" cy="4957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530" y="9376955"/>
            <a:ext cx="2946058" cy="4957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E866BD-B001-4D41-BA7F-66D0D072012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4925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727" cy="493219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941" y="1"/>
            <a:ext cx="2944717" cy="493219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r">
              <a:defRPr sz="1100"/>
            </a:lvl1pPr>
          </a:lstStyle>
          <a:p>
            <a:fld id="{667A17DA-1D83-2442-AC94-B79ADD33376A}" type="datetimeFigureOut">
              <a:rPr lang="en-US" smtClean="0"/>
              <a:t>11/2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759" tIns="41880" rIns="83759" bIns="4188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172" y="4689724"/>
            <a:ext cx="5437332" cy="4443113"/>
          </a:xfrm>
          <a:prstGeom prst="rect">
            <a:avLst/>
          </a:prstGeom>
        </p:spPr>
        <p:txBody>
          <a:bodyPr vert="horz" lIns="83759" tIns="41880" rIns="83759" bIns="4188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74"/>
            <a:ext cx="2945727" cy="493219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941" y="9377374"/>
            <a:ext cx="2944717" cy="493219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r">
              <a:defRPr sz="1100"/>
            </a:lvl1pPr>
          </a:lstStyle>
          <a:p>
            <a:fld id="{8D5C49B4-0496-1946-B93A-F1476E990D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536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elcome global members on ch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7722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9085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7999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5584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7E4F38-27EC-492B-952B-F20BAFE703EC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41817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6399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7493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image">
    <p:bg>
      <p:bgPr>
        <a:solidFill>
          <a:schemeClr val="accent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9CD2F-1BBD-B44F-8D01-4E8C584E8E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Round Single Corner Rectangle 6">
            <a:extLst>
              <a:ext uri="{FF2B5EF4-FFF2-40B4-BE49-F238E27FC236}">
                <a16:creationId xmlns:a16="http://schemas.microsoft.com/office/drawing/2014/main" id="{9A681C07-EA33-1D45-8CD2-39438A3726E3}"/>
              </a:ext>
            </a:extLst>
          </p:cNvPr>
          <p:cNvSpPr/>
          <p:nvPr userDrawn="1"/>
        </p:nvSpPr>
        <p:spPr>
          <a:xfrm>
            <a:off x="397670" y="371706"/>
            <a:ext cx="5060738" cy="4349584"/>
          </a:xfrm>
          <a:prstGeom prst="round1Rect">
            <a:avLst/>
          </a:prstGeom>
          <a:solidFill>
            <a:schemeClr val="accent1">
              <a:alpha val="5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sign&#10;&#10;Description generated with high confidence">
            <a:extLst>
              <a:ext uri="{FF2B5EF4-FFF2-40B4-BE49-F238E27FC236}">
                <a16:creationId xmlns:a16="http://schemas.microsoft.com/office/drawing/2014/main" id="{5707B01B-0DC8-9A46-9A11-50CA50B29A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669" y="371705"/>
            <a:ext cx="3290839" cy="1205167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37D3B52-7295-1442-BDDE-486EE415A9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9257" y="1948577"/>
            <a:ext cx="4381384" cy="916543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/>
              <a:t>Insert document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589CBC4-4156-944B-AD4B-7753CF942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9775" y="3035300"/>
            <a:ext cx="4381500" cy="15001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details</a:t>
            </a:r>
          </a:p>
          <a:p>
            <a:pPr lvl="0"/>
            <a:r>
              <a:rPr lang="en-US"/>
              <a:t>Dates</a:t>
            </a:r>
          </a:p>
          <a:p>
            <a:pPr lvl="0"/>
            <a:r>
              <a:rPr lang="en-US"/>
              <a:t>Location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line + squa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00BF611-62C1-3A4F-B3E6-D75D6C2B70B2}"/>
              </a:ext>
            </a:extLst>
          </p:cNvPr>
          <p:cNvSpPr/>
          <p:nvPr userDrawn="1"/>
        </p:nvSpPr>
        <p:spPr>
          <a:xfrm>
            <a:off x="0" y="1863759"/>
            <a:ext cx="13444538" cy="314953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56BDDDE-07CC-794B-A653-90DFD9FF7713}"/>
              </a:ext>
            </a:extLst>
          </p:cNvPr>
          <p:cNvGrpSpPr/>
          <p:nvPr userDrawn="1"/>
        </p:nvGrpSpPr>
        <p:grpSpPr>
          <a:xfrm>
            <a:off x="11592568" y="3536285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D9A549E-8591-D64A-9314-34F31B30A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E043A3F5-4741-0149-B8A0-CAB40AA6C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87695F1-DE74-944D-88F9-3F2DE8C51FB6}"/>
              </a:ext>
            </a:extLst>
          </p:cNvPr>
          <p:cNvGrpSpPr/>
          <p:nvPr userDrawn="1"/>
        </p:nvGrpSpPr>
        <p:grpSpPr>
          <a:xfrm rot="10800000">
            <a:off x="4128423" y="2106345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AED7517-3701-EA47-AC91-D4111C82E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DCFDCB63-07C2-994D-807C-439CD5459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51B793-05F4-2844-9C09-B3F70AF442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2239320"/>
            <a:ext cx="8069340" cy="48912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D98AE58-32E7-3945-A617-CCED1CA107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2974525"/>
            <a:ext cx="8069340" cy="122141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B0E5FABA-A590-154C-A8CE-5AB688D2CF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65190" y="4364414"/>
            <a:ext cx="8069340" cy="335638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Name and 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A20795B-7DC5-D445-AC4D-6D46CF9525A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33125397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586453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941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73867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0520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36711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76912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8BCBE9-A7EE-4DE9-82E4-6064C9BBA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8BCBE9-A7EE-4DE9-82E4-6064C9BBA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28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175435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9507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30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005893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043955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62477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2082D2-B4F8-4458-90EC-758228494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2082D2-B4F8-4458-90EC-758228494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006851" y="1782672"/>
            <a:ext cx="3671140" cy="48438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928724" y="1782675"/>
            <a:ext cx="367114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928724" y="4004760"/>
            <a:ext cx="3671140" cy="26217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50596" y="1782674"/>
            <a:ext cx="3671140" cy="34531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3469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ADD0F0-9651-4E99-9CD6-51F5746BEF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9ADD0F0-9651-4E99-9CD6-51F5746BE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8946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898C3D-61CC-4BE9-BDCE-15D1B87D7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898C3D-61CC-4BE9-BDCE-15D1B87D7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75936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6293C4-90D0-41EE-B84B-DE4AAFD34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6293C4-90D0-41EE-B84B-DE4AAFD34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-1" y="0"/>
            <a:ext cx="13444539" cy="38024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-1" y="3802433"/>
            <a:ext cx="13444539" cy="37604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2211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5A4DCD26-4DA3-9F47-929D-7A156A289A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9EA3B3-9BE9-2348-97E8-70A9E6BDD193}"/>
              </a:ext>
            </a:extLst>
          </p:cNvPr>
          <p:cNvSpPr/>
          <p:nvPr userDrawn="1"/>
        </p:nvSpPr>
        <p:spPr>
          <a:xfrm>
            <a:off x="0" y="4119338"/>
            <a:ext cx="13444538" cy="25902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52DDE9C-5CF5-6341-BDC9-87F23794A80D}"/>
              </a:ext>
            </a:extLst>
          </p:cNvPr>
          <p:cNvGrpSpPr/>
          <p:nvPr userDrawn="1"/>
        </p:nvGrpSpPr>
        <p:grpSpPr>
          <a:xfrm rot="10800000">
            <a:off x="499482" y="4486279"/>
            <a:ext cx="981677" cy="791409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67DFC191-AF16-C34E-844A-2797208AA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6000AFFD-38C0-ED4D-B395-42C26E8D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C9D7799-3366-2A43-9364-889A856FED6F}"/>
              </a:ext>
            </a:extLst>
          </p:cNvPr>
          <p:cNvGrpSpPr/>
          <p:nvPr userDrawn="1"/>
        </p:nvGrpSpPr>
        <p:grpSpPr>
          <a:xfrm>
            <a:off x="11829875" y="5631848"/>
            <a:ext cx="981677" cy="791409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5" name="Freeform 25">
              <a:extLst>
                <a:ext uri="{FF2B5EF4-FFF2-40B4-BE49-F238E27FC236}">
                  <a16:creationId xmlns:a16="http://schemas.microsoft.com/office/drawing/2014/main" id="{153E5A51-DDE4-5E41-9EE4-B06F99A74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25412871-3EE8-B940-A1CF-3D4F3DC27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</p:grp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569496D-4436-F14C-9315-0A38915358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8986" y="4557548"/>
            <a:ext cx="9846566" cy="122141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41DBDC45-83ED-6E44-AEA5-A063E6D6B1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98986" y="5947437"/>
            <a:ext cx="9846566" cy="33563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Name an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4CA2D9-337B-A546-A845-30E2B3FCF1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0" y="776579"/>
            <a:ext cx="9955482" cy="511175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2">
                    <a:lumMod val="10000"/>
                    <a:lumOff val="90000"/>
                  </a:schemeClr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/>
              <a:t>Title line one</a:t>
            </a:r>
          </a:p>
        </p:txBody>
      </p:sp>
    </p:spTree>
    <p:extLst>
      <p:ext uri="{BB962C8B-B14F-4D97-AF65-F5344CB8AC3E}">
        <p14:creationId xmlns:p14="http://schemas.microsoft.com/office/powerpoint/2010/main" val="153738135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F7AA381-01D7-448D-A07B-051FF3CA46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F7AA381-01D7-448D-A07B-051FF3CA4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4481512" y="0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8963026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0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4481512" y="3781425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34"/>
          </p:nvPr>
        </p:nvSpPr>
        <p:spPr>
          <a:xfrm>
            <a:off x="8963026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56513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7361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55019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50764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975334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38665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938665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8901996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901996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20834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003870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501936" y="0"/>
            <a:ext cx="4440671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01936" y="3846970"/>
            <a:ext cx="4440671" cy="37158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64462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98802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412316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03271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159DFF5-4277-4F8D-815B-CA4ACBB22D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159DFF5-4277-4F8D-815B-CA4ACBB22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8717211" cy="7562850"/>
          </a:xfrm>
          <a:custGeom>
            <a:avLst/>
            <a:gdLst>
              <a:gd name="connsiteX0" fmla="*/ 0 w 15806056"/>
              <a:gd name="connsiteY0" fmla="*/ 0 h 13716000"/>
              <a:gd name="connsiteX1" fmla="*/ 9050443 w 15806056"/>
              <a:gd name="connsiteY1" fmla="*/ 0 h 13716000"/>
              <a:gd name="connsiteX2" fmla="*/ 15806056 w 15806056"/>
              <a:gd name="connsiteY2" fmla="*/ 13716000 h 13716000"/>
              <a:gd name="connsiteX3" fmla="*/ 0 w 1580605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06056" h="13716000">
                <a:moveTo>
                  <a:pt x="0" y="0"/>
                </a:moveTo>
                <a:lnTo>
                  <a:pt x="9050443" y="0"/>
                </a:lnTo>
                <a:lnTo>
                  <a:pt x="1580605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66478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9869D8-7794-41BA-A775-DF81327CE3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9869D8-7794-41BA-A775-DF81327CE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18823" y="0"/>
            <a:ext cx="8725715" cy="7562850"/>
          </a:xfrm>
          <a:custGeom>
            <a:avLst/>
            <a:gdLst>
              <a:gd name="connsiteX0" fmla="*/ 6809359 w 15821476"/>
              <a:gd name="connsiteY0" fmla="*/ 0 h 13716000"/>
              <a:gd name="connsiteX1" fmla="*/ 15821476 w 15821476"/>
              <a:gd name="connsiteY1" fmla="*/ 0 h 13716000"/>
              <a:gd name="connsiteX2" fmla="*/ 15821476 w 15821476"/>
              <a:gd name="connsiteY2" fmla="*/ 13716000 h 13716000"/>
              <a:gd name="connsiteX3" fmla="*/ 0 w 1582147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21476" h="13716000">
                <a:moveTo>
                  <a:pt x="6809359" y="0"/>
                </a:moveTo>
                <a:lnTo>
                  <a:pt x="15821476" y="0"/>
                </a:lnTo>
                <a:lnTo>
                  <a:pt x="1582147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655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0255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EF24DA-71B3-0648-A902-86491C36FD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8" descr="A close up of a sign&#10;&#10;Description generated with high confidence">
            <a:extLst>
              <a:ext uri="{FF2B5EF4-FFF2-40B4-BE49-F238E27FC236}">
                <a16:creationId xmlns:a16="http://schemas.microsoft.com/office/drawing/2014/main" id="{A853EF31-21BC-A041-A139-C1B4ECC7DE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669" y="831727"/>
            <a:ext cx="2724552" cy="997782"/>
          </a:xfrm>
          <a:prstGeom prst="rect">
            <a:avLst/>
          </a:prstGeom>
        </p:spPr>
      </p:pic>
      <p:sp>
        <p:nvSpPr>
          <p:cNvPr id="10" name="object 2">
            <a:extLst>
              <a:ext uri="{FF2B5EF4-FFF2-40B4-BE49-F238E27FC236}">
                <a16:creationId xmlns:a16="http://schemas.microsoft.com/office/drawing/2014/main" id="{1FF34B6B-C022-5A44-A469-7F6E9C7C1E69}"/>
              </a:ext>
            </a:extLst>
          </p:cNvPr>
          <p:cNvSpPr txBox="1"/>
          <p:nvPr userDrawn="1"/>
        </p:nvSpPr>
        <p:spPr>
          <a:xfrm>
            <a:off x="4673133" y="6684263"/>
            <a:ext cx="4066463" cy="5577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43000"/>
              </a:lnSpc>
            </a:pPr>
            <a:r>
              <a:rPr lang="en-GB" sz="2800" spc="-5">
                <a:solidFill>
                  <a:schemeClr val="accent1"/>
                </a:solidFill>
                <a:latin typeface="Palatino Linotype" panose="02040502050505030304" pitchFamily="18" charset="0"/>
                <a:cs typeface="Trebuchet MS"/>
              </a:rPr>
              <a:t>everywoman everywhere</a:t>
            </a:r>
          </a:p>
        </p:txBody>
      </p:sp>
    </p:spTree>
    <p:extLst>
      <p:ext uri="{BB962C8B-B14F-4D97-AF65-F5344CB8AC3E}">
        <p14:creationId xmlns:p14="http://schemas.microsoft.com/office/powerpoint/2010/main" val="2548841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65664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3817953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104266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289495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4743144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1965664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4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3817953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25337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90086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975315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6977864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9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8830153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0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10678347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790086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2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975315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31372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8848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1657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032356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6612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35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41544" y="0"/>
            <a:ext cx="3193728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08640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902196" y="0"/>
            <a:ext cx="2913743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5356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2E227F-CD0F-4246-91D0-0906123DCD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2E227F-CD0F-4246-91D0-0906123DC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236146" y="0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468752" y="0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211998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2236146" y="3781425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468752" y="3781425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732743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1211998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732743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961872" y="0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8961872" y="3781425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55398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497155-4E0F-49DC-8084-C537BDB4D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7519484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497155-4E0F-49DC-8084-C537BDB4D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722273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517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726356" y="2954195"/>
            <a:ext cx="12470189" cy="1527342"/>
          </a:xfrm>
          <a:prstGeom prst="rect">
            <a:avLst/>
          </a:prstGeom>
        </p:spPr>
        <p:txBody>
          <a:bodyPr lIns="100831" tIns="50415" rIns="100831" bIns="50415"/>
          <a:lstStyle>
            <a:lvl1pPr marL="0" indent="201312" algn="l">
              <a:buClr>
                <a:schemeClr val="accent2">
                  <a:lumMod val="50000"/>
                </a:schemeClr>
              </a:buClr>
              <a:buFont typeface="Arial" pitchFamily="34" charset="0"/>
              <a:buChar char="•"/>
              <a:tabLst>
                <a:tab pos="201312" algn="l"/>
              </a:tabLst>
              <a:defRPr lang="en-US" sz="200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625132" y="1598643"/>
            <a:ext cx="11618530" cy="746700"/>
          </a:xfrm>
          <a:prstGeom prst="rect">
            <a:avLst/>
          </a:prstGeom>
        </p:spPr>
        <p:txBody>
          <a:bodyPr lIns="100831" tIns="50415" rIns="100831" bIns="50415"/>
          <a:lstStyle>
            <a:lvl1pPr marL="0" indent="0">
              <a:defRPr sz="4900" baseline="0">
                <a:solidFill>
                  <a:schemeClr val="tx2">
                    <a:lumMod val="50000"/>
                  </a:schemeClr>
                </a:solidFill>
                <a:latin typeface="Palatino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72227" y="302870"/>
            <a:ext cx="12100084" cy="509114"/>
          </a:xfrm>
          <a:prstGeom prst="rect">
            <a:avLst/>
          </a:prstGeom>
        </p:spPr>
        <p:txBody>
          <a:bodyPr lIns="100831" tIns="50415" rIns="100831" bIns="50415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565893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85828" y="2244270"/>
            <a:ext cx="5766250" cy="264436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75108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5809146"/>
            <a:ext cx="13444538" cy="17537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97694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43815" y="2290776"/>
            <a:ext cx="5820480" cy="52720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5740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43814" y="399153"/>
            <a:ext cx="8926087" cy="538102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02332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84555A-5BF0-46E9-920B-A032FF6AC1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1280431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84555A-5BF0-46E9-920B-A032FF6AC1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90864" y="4109148"/>
            <a:ext cx="3648504" cy="345370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615117" y="0"/>
            <a:ext cx="6829422" cy="712168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23369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DB2999-D757-440C-8E20-2BF957C518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998774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DB2999-D757-440C-8E20-2BF957C51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722275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722275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95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8341" y="2349386"/>
            <a:ext cx="11427857" cy="162111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16681" y="4285615"/>
            <a:ext cx="9411177" cy="193272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4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1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5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9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3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35179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8341" y="1237717"/>
            <a:ext cx="11427857" cy="2632992"/>
          </a:xfrm>
        </p:spPr>
        <p:txBody>
          <a:bodyPr anchor="b"/>
          <a:lstStyle>
            <a:lvl1pPr algn="ctr"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7"/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/>
              <a:pPr/>
              <a:t>11/25/2020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878085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/>
              <a:pPr/>
              <a:t>11/25/2020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802752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0" y="1885463"/>
            <a:ext cx="11595914" cy="3145935"/>
          </a:xfrm>
        </p:spPr>
        <p:txBody>
          <a:bodyPr anchor="b"/>
          <a:lstStyle>
            <a:lvl1pPr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0" y="5061159"/>
            <a:ext cx="11595914" cy="1654373"/>
          </a:xfrm>
        </p:spPr>
        <p:txBody>
          <a:bodyPr/>
          <a:lstStyle>
            <a:lvl1pPr marL="0" indent="0">
              <a:buNone/>
              <a:defRPr sz="2647">
                <a:solidFill>
                  <a:schemeClr val="tx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244042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312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6297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537301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402654"/>
            <a:ext cx="11595914" cy="14618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065" y="1853949"/>
            <a:ext cx="5687669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6065" y="2762541"/>
            <a:ext cx="5687669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6298" y="1853949"/>
            <a:ext cx="5715680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6298" y="2762541"/>
            <a:ext cx="5715680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5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17697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 line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F476040-597A-AC4F-9489-BC03B665C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0" y="1938909"/>
            <a:ext cx="8069340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CF2003F7-CA18-7D49-B884-523E76F2D70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98677" y="-27879"/>
            <a:ext cx="3673742" cy="7601563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77501" h="7618352">
                <a:moveTo>
                  <a:pt x="0" y="0"/>
                </a:moveTo>
                <a:cubicBezTo>
                  <a:pt x="5813" y="3954"/>
                  <a:pt x="3684087" y="17822"/>
                  <a:pt x="3677493" y="7409"/>
                </a:cubicBezTo>
                <a:cubicBezTo>
                  <a:pt x="3674677" y="11982"/>
                  <a:pt x="3657816" y="7620002"/>
                  <a:pt x="3668590" y="7615908"/>
                </a:cubicBezTo>
                <a:cubicBezTo>
                  <a:pt x="3658582" y="7621409"/>
                  <a:pt x="1624911" y="7615908"/>
                  <a:pt x="603071" y="7615908"/>
                </a:cubicBezTo>
                <a:cubicBezTo>
                  <a:pt x="270966" y="7615908"/>
                  <a:pt x="1742" y="7346684"/>
                  <a:pt x="1742" y="7014579"/>
                </a:cubicBezTo>
                <a:cubicBezTo>
                  <a:pt x="1742" y="4571354"/>
                  <a:pt x="5576" y="1108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DC6E11B-8420-4C47-8D95-6B62E41E9C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0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46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325124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847602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654630-537B-422D-9323-2B4614551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5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8213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680" y="1088912"/>
            <a:ext cx="6806297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7"/>
            </a:lvl3pPr>
            <a:lvl4pPr>
              <a:defRPr sz="2206"/>
            </a:lvl4pPr>
            <a:lvl5pPr>
              <a:defRPr sz="2206"/>
            </a:lvl5pPr>
            <a:lvl6pPr>
              <a:defRPr sz="2206"/>
            </a:lvl6pPr>
            <a:lvl7pPr>
              <a:defRPr sz="2206"/>
            </a:lvl7pPr>
            <a:lvl8pPr>
              <a:defRPr sz="2206"/>
            </a:lvl8pPr>
            <a:lvl9pPr>
              <a:defRPr sz="22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200377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5680" y="1088912"/>
            <a:ext cx="6806297" cy="5374525"/>
          </a:xfrm>
        </p:spPr>
        <p:txBody>
          <a:bodyPr anchor="t"/>
          <a:lstStyle>
            <a:lvl1pPr marL="0" indent="0">
              <a:buNone/>
              <a:defRPr sz="3529"/>
            </a:lvl1pPr>
            <a:lvl2pPr marL="504200" indent="0">
              <a:buNone/>
              <a:defRPr sz="3088"/>
            </a:lvl2pPr>
            <a:lvl3pPr marL="1008400" indent="0">
              <a:buNone/>
              <a:defRPr sz="2647"/>
            </a:lvl3pPr>
            <a:lvl4pPr marL="1512600" indent="0">
              <a:buNone/>
              <a:defRPr sz="2206"/>
            </a:lvl4pPr>
            <a:lvl5pPr marL="2016801" indent="0">
              <a:buNone/>
              <a:defRPr sz="2206"/>
            </a:lvl5pPr>
            <a:lvl6pPr marL="2521001" indent="0">
              <a:buNone/>
              <a:defRPr sz="2206"/>
            </a:lvl6pPr>
            <a:lvl7pPr marL="3025201" indent="0">
              <a:buNone/>
              <a:defRPr sz="2206"/>
            </a:lvl7pPr>
            <a:lvl8pPr marL="3529401" indent="0">
              <a:buNone/>
              <a:defRPr sz="2206"/>
            </a:lvl8pPr>
            <a:lvl9pPr marL="4033601" indent="0">
              <a:buNone/>
              <a:defRPr sz="2206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5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66139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559783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1248" y="402652"/>
            <a:ext cx="2898979" cy="64091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313" y="402652"/>
            <a:ext cx="8528879" cy="64091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799371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71556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7D5CF0-9205-4514-835C-6971DD42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3537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6795889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4475090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6795889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4475090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29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74741" y="2781914"/>
            <a:ext cx="5143875" cy="21688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533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96185" y="2794745"/>
            <a:ext cx="5143875" cy="21559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3282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320966D-FC42-8C4E-B321-6C51B7519B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06CF67-64C5-F844-BC9C-CDD4FD02B0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1948661"/>
            <a:ext cx="8069340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1687EF5-3057-A24E-99D1-E0749A2F79A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8895837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631097" y="3175680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620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160301" y="3175681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7653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6754" y="2234343"/>
            <a:ext cx="2455011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703333" y="2234343"/>
            <a:ext cx="2455012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4975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890467" y="2234343"/>
            <a:ext cx="2461067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881883" y="2234343"/>
            <a:ext cx="2455011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0851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050696" y="2114288"/>
            <a:ext cx="3429250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6551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481530" y="2114288"/>
            <a:ext cx="3373604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8788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729618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58509" y="3278563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766872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4393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Lapt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601162" y="3461386"/>
            <a:ext cx="2213334" cy="215283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7922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38665" y="1885233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85218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6193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91489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28158" y="1885232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28159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7525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092C2CD-8D6B-0D4E-AF4C-BB4EE22872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0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46D57C6-A437-1741-8E39-E45C3EEBB0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5670" y="1926717"/>
            <a:ext cx="6069663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52D6E63-593B-204A-BC72-3351C6ED13B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12950" y="-28722"/>
            <a:ext cx="5279456" cy="760240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5284858"/>
              <a:gd name="connsiteY0" fmla="*/ 0 h 7618353"/>
              <a:gd name="connsiteX1" fmla="*/ 3677493 w 5284858"/>
              <a:gd name="connsiteY1" fmla="*/ 7409 h 7618353"/>
              <a:gd name="connsiteX2" fmla="*/ 5284858 w 5284858"/>
              <a:gd name="connsiteY2" fmla="*/ 7615909 h 7618353"/>
              <a:gd name="connsiteX3" fmla="*/ 603071 w 5284858"/>
              <a:gd name="connsiteY3" fmla="*/ 7615908 h 7618353"/>
              <a:gd name="connsiteX4" fmla="*/ 1742 w 5284858"/>
              <a:gd name="connsiteY4" fmla="*/ 7014579 h 7618353"/>
              <a:gd name="connsiteX5" fmla="*/ 0 w 5284858"/>
              <a:gd name="connsiteY5" fmla="*/ 0 h 7618353"/>
              <a:gd name="connsiteX0" fmla="*/ 0 w 5284858"/>
              <a:gd name="connsiteY0" fmla="*/ 846 h 7619199"/>
              <a:gd name="connsiteX1" fmla="*/ 5260775 w 5284858"/>
              <a:gd name="connsiteY1" fmla="*/ 0 h 7619199"/>
              <a:gd name="connsiteX2" fmla="*/ 5284858 w 5284858"/>
              <a:gd name="connsiteY2" fmla="*/ 7616755 h 7619199"/>
              <a:gd name="connsiteX3" fmla="*/ 603071 w 5284858"/>
              <a:gd name="connsiteY3" fmla="*/ 7616754 h 7619199"/>
              <a:gd name="connsiteX4" fmla="*/ 1742 w 5284858"/>
              <a:gd name="connsiteY4" fmla="*/ 7015425 h 7619199"/>
              <a:gd name="connsiteX5" fmla="*/ 0 w 5284858"/>
              <a:gd name="connsiteY5" fmla="*/ 846 h 761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4858" h="7619199">
                <a:moveTo>
                  <a:pt x="0" y="846"/>
                </a:moveTo>
                <a:cubicBezTo>
                  <a:pt x="5813" y="4800"/>
                  <a:pt x="5267369" y="10413"/>
                  <a:pt x="5260775" y="0"/>
                </a:cubicBezTo>
                <a:cubicBezTo>
                  <a:pt x="5257959" y="4573"/>
                  <a:pt x="5274084" y="7620849"/>
                  <a:pt x="5284858" y="7616755"/>
                </a:cubicBezTo>
                <a:cubicBezTo>
                  <a:pt x="5274850" y="7622256"/>
                  <a:pt x="1624911" y="7616754"/>
                  <a:pt x="603071" y="7616754"/>
                </a:cubicBezTo>
                <a:cubicBezTo>
                  <a:pt x="270966" y="7616754"/>
                  <a:pt x="1742" y="7347530"/>
                  <a:pt x="1742" y="7015425"/>
                </a:cubicBezTo>
                <a:cubicBezTo>
                  <a:pt x="1742" y="4572200"/>
                  <a:pt x="5576" y="1954"/>
                  <a:pt x="0" y="846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19272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1637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8897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2020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96727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854055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96727" y="4638220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54055" y="463821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9442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920312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576954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712615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1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641531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3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3849228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6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576954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9641531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11561843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4007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1" y="1644646"/>
            <a:ext cx="10376973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0376975" y="0"/>
            <a:ext cx="3067565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376973" y="3645684"/>
            <a:ext cx="3067565" cy="391716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9958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0409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6839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3512879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2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512880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6647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572270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5147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572270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0085148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3136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1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103087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720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3DB74B5-1A8E-8D47-ADCE-A51C4AE212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4262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5392025-149B-024E-B967-86B4833C8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4262" y="1914525"/>
            <a:ext cx="6069663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B51436A8-D0B2-4440-B204-66C6EE338A3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22528" y="-17629"/>
            <a:ext cx="5253841" cy="759642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  <a:gd name="connsiteX0" fmla="*/ 1554089 w 5638947"/>
              <a:gd name="connsiteY0" fmla="*/ 8107669 h 8107673"/>
              <a:gd name="connsiteX1" fmla="*/ 4 w 5638947"/>
              <a:gd name="connsiteY1" fmla="*/ 517891 h 8107673"/>
              <a:gd name="connsiteX2" fmla="*/ 5251039 w 5638947"/>
              <a:gd name="connsiteY2" fmla="*/ 517033 h 8107673"/>
              <a:gd name="connsiteX3" fmla="*/ 5247864 w 5638947"/>
              <a:gd name="connsiteY3" fmla="*/ 7499990 h 8107673"/>
              <a:gd name="connsiteX4" fmla="*/ 4646535 w 5638947"/>
              <a:gd name="connsiteY4" fmla="*/ 8101319 h 8107673"/>
              <a:gd name="connsiteX5" fmla="*/ 1554089 w 5638947"/>
              <a:gd name="connsiteY5" fmla="*/ 8107669 h 8107673"/>
              <a:gd name="connsiteX0" fmla="*/ 0 w 5641653"/>
              <a:gd name="connsiteY0" fmla="*/ 8119244 h 8119248"/>
              <a:gd name="connsiteX1" fmla="*/ 2710 w 5641653"/>
              <a:gd name="connsiteY1" fmla="*/ 517891 h 8119248"/>
              <a:gd name="connsiteX2" fmla="*/ 5253745 w 5641653"/>
              <a:gd name="connsiteY2" fmla="*/ 517033 h 8119248"/>
              <a:gd name="connsiteX3" fmla="*/ 5250570 w 5641653"/>
              <a:gd name="connsiteY3" fmla="*/ 7499990 h 8119248"/>
              <a:gd name="connsiteX4" fmla="*/ 4649241 w 5641653"/>
              <a:gd name="connsiteY4" fmla="*/ 8101319 h 8119248"/>
              <a:gd name="connsiteX5" fmla="*/ 0 w 5641653"/>
              <a:gd name="connsiteY5" fmla="*/ 8119244 h 8119248"/>
              <a:gd name="connsiteX0" fmla="*/ 0 w 5641653"/>
              <a:gd name="connsiteY0" fmla="*/ 8113457 h 8113461"/>
              <a:gd name="connsiteX1" fmla="*/ 2710 w 5641653"/>
              <a:gd name="connsiteY1" fmla="*/ 517891 h 8113461"/>
              <a:gd name="connsiteX2" fmla="*/ 5253745 w 5641653"/>
              <a:gd name="connsiteY2" fmla="*/ 517033 h 8113461"/>
              <a:gd name="connsiteX3" fmla="*/ 5250570 w 5641653"/>
              <a:gd name="connsiteY3" fmla="*/ 7499990 h 8113461"/>
              <a:gd name="connsiteX4" fmla="*/ 4649241 w 5641653"/>
              <a:gd name="connsiteY4" fmla="*/ 8101319 h 8113461"/>
              <a:gd name="connsiteX5" fmla="*/ 0 w 5641653"/>
              <a:gd name="connsiteY5" fmla="*/ 8113457 h 8113461"/>
              <a:gd name="connsiteX0" fmla="*/ 0 w 5253841"/>
              <a:gd name="connsiteY0" fmla="*/ 7596424 h 7596428"/>
              <a:gd name="connsiteX1" fmla="*/ 2710 w 5253841"/>
              <a:gd name="connsiteY1" fmla="*/ 858 h 7596428"/>
              <a:gd name="connsiteX2" fmla="*/ 5253745 w 5253841"/>
              <a:gd name="connsiteY2" fmla="*/ 0 h 7596428"/>
              <a:gd name="connsiteX3" fmla="*/ 5250570 w 5253841"/>
              <a:gd name="connsiteY3" fmla="*/ 6982957 h 7596428"/>
              <a:gd name="connsiteX4" fmla="*/ 4649241 w 5253841"/>
              <a:gd name="connsiteY4" fmla="*/ 7584286 h 7596428"/>
              <a:gd name="connsiteX5" fmla="*/ 0 w 5253841"/>
              <a:gd name="connsiteY5" fmla="*/ 7596424 h 759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3841" h="7596428">
                <a:moveTo>
                  <a:pt x="0" y="7596424"/>
                </a:moveTo>
                <a:cubicBezTo>
                  <a:pt x="14131" y="7603232"/>
                  <a:pt x="-312" y="376121"/>
                  <a:pt x="2710" y="858"/>
                </a:cubicBezTo>
                <a:lnTo>
                  <a:pt x="5253745" y="0"/>
                </a:lnTo>
                <a:cubicBezTo>
                  <a:pt x="5254499" y="427"/>
                  <a:pt x="5250570" y="4655479"/>
                  <a:pt x="5250570" y="6982957"/>
                </a:cubicBezTo>
                <a:cubicBezTo>
                  <a:pt x="5250570" y="7315062"/>
                  <a:pt x="4981346" y="7584286"/>
                  <a:pt x="4649241" y="7584286"/>
                </a:cubicBezTo>
                <a:lnTo>
                  <a:pt x="0" y="7596424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267079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405669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9495928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9495928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0901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276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2834700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2834700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5634651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5623694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7006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5130719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130995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7965418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7965418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10765370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0754413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530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01257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9619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7184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5894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76096" y="2315568"/>
            <a:ext cx="4060710" cy="304565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6057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F67C5D-1D09-4F39-BF17-0352B3AF2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4145562"/>
            <a:ext cx="4355331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542435" y="4145562"/>
            <a:ext cx="4355399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9084937" y="4145562"/>
            <a:ext cx="4359602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6424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26229" y="909737"/>
            <a:ext cx="4336212" cy="574338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5177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023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3" name="Round Single Corner Rectangle 12">
            <a:extLst>
              <a:ext uri="{FF2B5EF4-FFF2-40B4-BE49-F238E27FC236}">
                <a16:creationId xmlns:a16="http://schemas.microsoft.com/office/drawing/2014/main" id="{24A3CC29-68E2-7B43-AA24-1AD427C5E3CB}"/>
              </a:ext>
            </a:extLst>
          </p:cNvPr>
          <p:cNvSpPr/>
          <p:nvPr userDrawn="1"/>
        </p:nvSpPr>
        <p:spPr>
          <a:xfrm>
            <a:off x="598881" y="2209077"/>
            <a:ext cx="12240000" cy="4769165"/>
          </a:xfrm>
          <a:prstGeom prst="round1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0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5123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89EB75-32C3-4E65-9293-AC6BA7196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376073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2" name="Rectangle 11"/>
          <p:cNvSpPr/>
          <p:nvPr userDrawn="1"/>
        </p:nvSpPr>
        <p:spPr>
          <a:xfrm>
            <a:off x="5044266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3" name="Rectangle 12"/>
          <p:cNvSpPr/>
          <p:nvPr userDrawn="1"/>
        </p:nvSpPr>
        <p:spPr>
          <a:xfrm>
            <a:off x="8712458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376073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044266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712458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9181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2F8DF6-8A42-4F93-BB78-6B420EF74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E2F8DF6-8A42-4F93-BB78-6B420EF74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10976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593013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9275051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7240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234166" y="3028270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5880185" y="3026109"/>
            <a:ext cx="1661472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9512329" y="3026109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2691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57254CC-F893-43D0-A2C7-20FC4F4B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57254CC-F893-43D0-A2C7-20FC4F4B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706336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78885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33787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61238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2473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490748-3DAF-4045-9C43-536332417E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490748-3DAF-4045-9C43-536332417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50135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816027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784570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0462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8291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4D35D0-5BF3-4BED-BD79-D3019866B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0216" y="0"/>
            <a:ext cx="448825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4488253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976504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8128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366174" y="2976678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5236624" y="2976681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366174" y="4823105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5236624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9080219" y="2976680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080219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6663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10278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02084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4938909" y="1743540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10092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301898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4937042" y="3151992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10092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301898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4937042" y="4561694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1954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4621742"/>
            <a:ext cx="13444538" cy="24579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1836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386439"/>
            <a:ext cx="13444537" cy="245789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76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50603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CAA65E3C-0D40-1145-830F-CF69E766555F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98881" y="1549146"/>
            <a:ext cx="11882437" cy="4913313"/>
          </a:xfrm>
          <a:prstGeom prst="rect">
            <a:avLst/>
          </a:prstGeom>
          <a:ln w="3175">
            <a:solidFill>
              <a:schemeClr val="accent1"/>
            </a:solidFill>
          </a:ln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2609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0082927" y="2115946"/>
            <a:ext cx="134445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816764" y="2115946"/>
            <a:ext cx="1344455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0186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9783805" y="3664696"/>
            <a:ext cx="1326244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6392520" y="3664696"/>
            <a:ext cx="1316152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9783805" y="1283797"/>
            <a:ext cx="132624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392519" y="1283797"/>
            <a:ext cx="1362663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9809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152525" y="2949512"/>
            <a:ext cx="2215324" cy="166382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578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376072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5044266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8712458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7696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2960780"/>
            <a:ext cx="13444538" cy="4579063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89868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076375" y="1"/>
            <a:ext cx="2728242" cy="756285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11608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327628" y="-360076"/>
            <a:ext cx="13993629" cy="5735491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09784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5646598" y="2744323"/>
            <a:ext cx="2124874" cy="287388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2304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614637" y="2026833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7373661" y="2023308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09109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3A2254-032B-45AB-B393-1883E6B44B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3A2254-032B-45AB-B393-1883E6B44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543970" y="2030357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302994" y="2026832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442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328486-014B-AF42-BCF6-C90E599630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8488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0447282-D7AE-E243-9237-B548EE0D33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50664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4F97880-8FDE-C24B-A061-DC5EC07C9A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02652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62301C60-2709-F04A-A9B3-A31C3AC06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8285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F30E22FA-D435-ED46-A79A-4E4CB76834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50461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5164005C-D1C7-1244-AB04-588168A53E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2449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88E290D-44E1-1A4A-BF51-C85F24ECAA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8285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1EDC695-027A-E448-B48A-5F71145964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50461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B3A6708A-A895-B14D-8776-2DFC583261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02449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AE9032EA-0E73-5947-AA72-C407B55455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8285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B2DD048A-2C0C-C442-8692-643C9F3BC8C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50461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B592F973-9EFE-C543-A1FE-8CD2342F13B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02449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6B5069F5-D1DD-E14F-8D9E-2BEE7E736B3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8285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34">
            <a:extLst>
              <a:ext uri="{FF2B5EF4-FFF2-40B4-BE49-F238E27FC236}">
                <a16:creationId xmlns:a16="http://schemas.microsoft.com/office/drawing/2014/main" id="{BC78C847-B777-9440-844F-89816896D87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50367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1" name="Text Placeholder 34">
            <a:extLst>
              <a:ext uri="{FF2B5EF4-FFF2-40B4-BE49-F238E27FC236}">
                <a16:creationId xmlns:a16="http://schemas.microsoft.com/office/drawing/2014/main" id="{9AFB8256-8920-C244-9AC9-B5A66F4457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02449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2" name="Text Placeholder 34">
            <a:extLst>
              <a:ext uri="{FF2B5EF4-FFF2-40B4-BE49-F238E27FC236}">
                <a16:creationId xmlns:a16="http://schemas.microsoft.com/office/drawing/2014/main" id="{1B17FAFC-AD51-CC4C-B314-81A11E74F19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8285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3" name="Text Placeholder 34">
            <a:extLst>
              <a:ext uri="{FF2B5EF4-FFF2-40B4-BE49-F238E27FC236}">
                <a16:creationId xmlns:a16="http://schemas.microsoft.com/office/drawing/2014/main" id="{FC5DC37F-DF25-C646-9C7D-D0455901A0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50367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4" name="Text Placeholder 34">
            <a:extLst>
              <a:ext uri="{FF2B5EF4-FFF2-40B4-BE49-F238E27FC236}">
                <a16:creationId xmlns:a16="http://schemas.microsoft.com/office/drawing/2014/main" id="{EED8F8C7-57FC-CF4B-A7E6-565078D9743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702449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6657766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066863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69968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474317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2506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369753" y="3412979"/>
            <a:ext cx="4690004" cy="4128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23839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5634264" y="2757725"/>
            <a:ext cx="2130396" cy="28362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347995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2931002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1039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371290" y="1789673"/>
            <a:ext cx="3896861" cy="38784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4410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C04B20-1119-4D5E-B35A-62F9B8DC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C04B20-1119-4D5E-B35A-62F9B8DC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764242" y="1781991"/>
            <a:ext cx="3917706" cy="39469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56364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sponsiv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 noChangeAspect="1"/>
          </p:cNvSpPr>
          <p:nvPr>
            <p:ph type="pic" sz="quarter" idx="27"/>
          </p:nvPr>
        </p:nvSpPr>
        <p:spPr>
          <a:xfrm>
            <a:off x="2474609" y="4613712"/>
            <a:ext cx="243597" cy="228982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lnSpc>
                <a:spcPct val="50000"/>
              </a:lnSpc>
              <a:buNone/>
              <a:defRPr sz="10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9" name="Picture Placeholder 2"/>
          <p:cNvSpPr>
            <a:spLocks noGrp="1" noChangeAspect="1"/>
          </p:cNvSpPr>
          <p:nvPr>
            <p:ph type="pic" sz="quarter" idx="25"/>
          </p:nvPr>
        </p:nvSpPr>
        <p:spPr>
          <a:xfrm>
            <a:off x="4651538" y="2649396"/>
            <a:ext cx="3683798" cy="1547053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91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922992" y="4130356"/>
            <a:ext cx="559030" cy="751297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l">
              <a:lnSpc>
                <a:spcPct val="50000"/>
              </a:lnSpc>
              <a:buNone/>
              <a:defRPr sz="289">
                <a:latin typeface="Calibri Light"/>
                <a:cs typeface="Calibri Light"/>
              </a:defRPr>
            </a:lvl1pPr>
          </a:lstStyle>
          <a:p>
            <a:r>
              <a:rPr lang="id-ID"/>
              <a:t>Picture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26"/>
          </p:nvPr>
        </p:nvSpPr>
        <p:spPr>
          <a:xfrm>
            <a:off x="7819991" y="3735765"/>
            <a:ext cx="2324039" cy="1106929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24"/>
          </p:nvPr>
        </p:nvSpPr>
        <p:spPr>
          <a:xfrm>
            <a:off x="3663191" y="3641730"/>
            <a:ext cx="1243140" cy="1225884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7738655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515704" y="3121825"/>
            <a:ext cx="4429131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7422899" y="3121825"/>
            <a:ext cx="4446202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7156074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2382283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9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5596162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0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8643833" y="3356433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1598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25279" y="3006732"/>
            <a:ext cx="4787886" cy="2222439"/>
          </a:xfrm>
          <a:solidFill>
            <a:schemeClr val="bg1">
              <a:lumMod val="95000"/>
            </a:schemeClr>
          </a:solidFill>
        </p:spPr>
      </p:sp>
    </p:spTree>
    <p:extLst>
      <p:ext uri="{BB962C8B-B14F-4D97-AF65-F5344CB8AC3E}">
        <p14:creationId xmlns:p14="http://schemas.microsoft.com/office/powerpoint/2010/main" val="2222755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036825" y="3282599"/>
            <a:ext cx="5138731" cy="240652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9632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212749-C25E-5240-B79A-9B8BD5915B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2269" y="613425"/>
            <a:ext cx="11880000" cy="2160587"/>
          </a:xfrm>
          <a:prstGeom prst="round1Rect">
            <a:avLst/>
          </a:prstGeom>
        </p:spPr>
        <p:txBody>
          <a:bodyPr anchor="t" anchorCtr="1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9C0793-6B54-FE46-BB88-EF527E092A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2269" y="3212528"/>
            <a:ext cx="11881818" cy="923330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5D110D0-74F1-294D-8F96-392EEE18D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2269" y="4340733"/>
            <a:ext cx="11880000" cy="210883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hind the Sc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111509" y="3268839"/>
            <a:ext cx="5152619" cy="241117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0403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43282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71413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7278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111916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48636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6BA4CB-0B9C-4370-B9FF-D1EA9433FC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7967534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6BA4CB-0B9C-4370-B9FF-D1EA9433FC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858329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96221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C6408C-AB03-4949-8721-E6955BD1E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1536035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C6408C-AB03-4949-8721-E6955BD1E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445962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4717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2762087"/>
            <a:ext cx="13444539" cy="40754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89143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1145052"/>
            <a:ext cx="13444539" cy="323407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41571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214708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03578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612562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4376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0.xml"/><Relationship Id="rId117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35.xml"/><Relationship Id="rId42" Type="http://schemas.openxmlformats.org/officeDocument/2006/relationships/slideLayout" Target="../slideLayouts/slideLayout56.xml"/><Relationship Id="rId47" Type="http://schemas.openxmlformats.org/officeDocument/2006/relationships/slideLayout" Target="../slideLayouts/slideLayout61.xml"/><Relationship Id="rId63" Type="http://schemas.openxmlformats.org/officeDocument/2006/relationships/slideLayout" Target="../slideLayouts/slideLayout77.xml"/><Relationship Id="rId68" Type="http://schemas.openxmlformats.org/officeDocument/2006/relationships/slideLayout" Target="../slideLayouts/slideLayout82.xml"/><Relationship Id="rId84" Type="http://schemas.openxmlformats.org/officeDocument/2006/relationships/slideLayout" Target="../slideLayouts/slideLayout98.xml"/><Relationship Id="rId89" Type="http://schemas.openxmlformats.org/officeDocument/2006/relationships/slideLayout" Target="../slideLayouts/slideLayout103.xml"/><Relationship Id="rId11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30.xml"/><Relationship Id="rId107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25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53" Type="http://schemas.openxmlformats.org/officeDocument/2006/relationships/slideLayout" Target="../slideLayouts/slideLayout67.xml"/><Relationship Id="rId58" Type="http://schemas.openxmlformats.org/officeDocument/2006/relationships/slideLayout" Target="../slideLayouts/slideLayout72.xml"/><Relationship Id="rId74" Type="http://schemas.openxmlformats.org/officeDocument/2006/relationships/slideLayout" Target="../slideLayouts/slideLayout88.xml"/><Relationship Id="rId79" Type="http://schemas.openxmlformats.org/officeDocument/2006/relationships/slideLayout" Target="../slideLayouts/slideLayout93.xml"/><Relationship Id="rId102" Type="http://schemas.openxmlformats.org/officeDocument/2006/relationships/slideLayout" Target="../slideLayouts/slideLayout116.xml"/><Relationship Id="rId123" Type="http://schemas.openxmlformats.org/officeDocument/2006/relationships/vmlDrawing" Target="../drawings/vmlDrawing1.vml"/><Relationship Id="rId5" Type="http://schemas.openxmlformats.org/officeDocument/2006/relationships/slideLayout" Target="../slideLayouts/slideLayout19.xml"/><Relationship Id="rId90" Type="http://schemas.openxmlformats.org/officeDocument/2006/relationships/slideLayout" Target="../slideLayouts/slideLayout104.xml"/><Relationship Id="rId95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57.xml"/><Relationship Id="rId48" Type="http://schemas.openxmlformats.org/officeDocument/2006/relationships/slideLayout" Target="../slideLayouts/slideLayout62.xml"/><Relationship Id="rId64" Type="http://schemas.openxmlformats.org/officeDocument/2006/relationships/slideLayout" Target="../slideLayouts/slideLayout78.xml"/><Relationship Id="rId69" Type="http://schemas.openxmlformats.org/officeDocument/2006/relationships/slideLayout" Target="../slideLayouts/slideLayout83.xml"/><Relationship Id="rId113" Type="http://schemas.openxmlformats.org/officeDocument/2006/relationships/slideLayout" Target="../slideLayouts/slideLayout127.xml"/><Relationship Id="rId118" Type="http://schemas.openxmlformats.org/officeDocument/2006/relationships/slideLayout" Target="../slideLayouts/slideLayout132.xml"/><Relationship Id="rId80" Type="http://schemas.openxmlformats.org/officeDocument/2006/relationships/slideLayout" Target="../slideLayouts/slideLayout94.xml"/><Relationship Id="rId85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59" Type="http://schemas.openxmlformats.org/officeDocument/2006/relationships/slideLayout" Target="../slideLayouts/slideLayout73.xml"/><Relationship Id="rId103" Type="http://schemas.openxmlformats.org/officeDocument/2006/relationships/slideLayout" Target="../slideLayouts/slideLayout117.xml"/><Relationship Id="rId108" Type="http://schemas.openxmlformats.org/officeDocument/2006/relationships/slideLayout" Target="../slideLayouts/slideLayout122.xml"/><Relationship Id="rId124" Type="http://schemas.openxmlformats.org/officeDocument/2006/relationships/tags" Target="../tags/tag1.xml"/><Relationship Id="rId54" Type="http://schemas.openxmlformats.org/officeDocument/2006/relationships/slideLayout" Target="../slideLayouts/slideLayout68.xml"/><Relationship Id="rId70" Type="http://schemas.openxmlformats.org/officeDocument/2006/relationships/slideLayout" Target="../slideLayouts/slideLayout84.xml"/><Relationship Id="rId75" Type="http://schemas.openxmlformats.org/officeDocument/2006/relationships/slideLayout" Target="../slideLayouts/slideLayout89.xml"/><Relationship Id="rId91" Type="http://schemas.openxmlformats.org/officeDocument/2006/relationships/slideLayout" Target="../slideLayouts/slideLayout105.xml"/><Relationship Id="rId96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49" Type="http://schemas.openxmlformats.org/officeDocument/2006/relationships/slideLayout" Target="../slideLayouts/slideLayout63.xml"/><Relationship Id="rId114" Type="http://schemas.openxmlformats.org/officeDocument/2006/relationships/slideLayout" Target="../slideLayouts/slideLayout128.xml"/><Relationship Id="rId119" Type="http://schemas.openxmlformats.org/officeDocument/2006/relationships/slideLayout" Target="../slideLayouts/slideLayout133.xml"/><Relationship Id="rId44" Type="http://schemas.openxmlformats.org/officeDocument/2006/relationships/slideLayout" Target="../slideLayouts/slideLayout58.xml"/><Relationship Id="rId60" Type="http://schemas.openxmlformats.org/officeDocument/2006/relationships/slideLayout" Target="../slideLayouts/slideLayout74.xml"/><Relationship Id="rId65" Type="http://schemas.openxmlformats.org/officeDocument/2006/relationships/slideLayout" Target="../slideLayouts/slideLayout79.xml"/><Relationship Id="rId81" Type="http://schemas.openxmlformats.org/officeDocument/2006/relationships/slideLayout" Target="../slideLayouts/slideLayout95.xml"/><Relationship Id="rId86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53.xml"/><Relationship Id="rId109" Type="http://schemas.openxmlformats.org/officeDocument/2006/relationships/slideLayout" Target="../slideLayouts/slideLayout123.xml"/><Relationship Id="rId34" Type="http://schemas.openxmlformats.org/officeDocument/2006/relationships/slideLayout" Target="../slideLayouts/slideLayout48.xml"/><Relationship Id="rId50" Type="http://schemas.openxmlformats.org/officeDocument/2006/relationships/slideLayout" Target="../slideLayouts/slideLayout64.xml"/><Relationship Id="rId55" Type="http://schemas.openxmlformats.org/officeDocument/2006/relationships/slideLayout" Target="../slideLayouts/slideLayout69.xml"/><Relationship Id="rId76" Type="http://schemas.openxmlformats.org/officeDocument/2006/relationships/slideLayout" Target="../slideLayouts/slideLayout90.xml"/><Relationship Id="rId97" Type="http://schemas.openxmlformats.org/officeDocument/2006/relationships/slideLayout" Target="../slideLayouts/slideLayout111.xml"/><Relationship Id="rId104" Type="http://schemas.openxmlformats.org/officeDocument/2006/relationships/slideLayout" Target="../slideLayouts/slideLayout118.xml"/><Relationship Id="rId120" Type="http://schemas.openxmlformats.org/officeDocument/2006/relationships/slideLayout" Target="../slideLayouts/slideLayout134.xml"/><Relationship Id="rId125" Type="http://schemas.openxmlformats.org/officeDocument/2006/relationships/oleObject" Target="../embeddings/oleObject1.bin"/><Relationship Id="rId7" Type="http://schemas.openxmlformats.org/officeDocument/2006/relationships/slideLayout" Target="../slideLayouts/slideLayout21.xml"/><Relationship Id="rId71" Type="http://schemas.openxmlformats.org/officeDocument/2006/relationships/slideLayout" Target="../slideLayouts/slideLayout85.xml"/><Relationship Id="rId9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38.xml"/><Relationship Id="rId40" Type="http://schemas.openxmlformats.org/officeDocument/2006/relationships/slideLayout" Target="../slideLayouts/slideLayout54.xml"/><Relationship Id="rId45" Type="http://schemas.openxmlformats.org/officeDocument/2006/relationships/slideLayout" Target="../slideLayouts/slideLayout59.xml"/><Relationship Id="rId66" Type="http://schemas.openxmlformats.org/officeDocument/2006/relationships/slideLayout" Target="../slideLayouts/slideLayout80.xml"/><Relationship Id="rId87" Type="http://schemas.openxmlformats.org/officeDocument/2006/relationships/slideLayout" Target="../slideLayouts/slideLayout101.xml"/><Relationship Id="rId110" Type="http://schemas.openxmlformats.org/officeDocument/2006/relationships/slideLayout" Target="../slideLayouts/slideLayout124.xml"/><Relationship Id="rId115" Type="http://schemas.openxmlformats.org/officeDocument/2006/relationships/slideLayout" Target="../slideLayouts/slideLayout129.xml"/><Relationship Id="rId61" Type="http://schemas.openxmlformats.org/officeDocument/2006/relationships/slideLayout" Target="../slideLayouts/slideLayout75.xml"/><Relationship Id="rId82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56" Type="http://schemas.openxmlformats.org/officeDocument/2006/relationships/slideLayout" Target="../slideLayouts/slideLayout70.xml"/><Relationship Id="rId77" Type="http://schemas.openxmlformats.org/officeDocument/2006/relationships/slideLayout" Target="../slideLayouts/slideLayout91.xml"/><Relationship Id="rId100" Type="http://schemas.openxmlformats.org/officeDocument/2006/relationships/slideLayout" Target="../slideLayouts/slideLayout114.xml"/><Relationship Id="rId105" Type="http://schemas.openxmlformats.org/officeDocument/2006/relationships/slideLayout" Target="../slideLayouts/slideLayout119.xml"/><Relationship Id="rId126" Type="http://schemas.openxmlformats.org/officeDocument/2006/relationships/image" Target="../media/image3.emf"/><Relationship Id="rId8" Type="http://schemas.openxmlformats.org/officeDocument/2006/relationships/slideLayout" Target="../slideLayouts/slideLayout22.xml"/><Relationship Id="rId51" Type="http://schemas.openxmlformats.org/officeDocument/2006/relationships/slideLayout" Target="../slideLayouts/slideLayout65.xml"/><Relationship Id="rId72" Type="http://schemas.openxmlformats.org/officeDocument/2006/relationships/slideLayout" Target="../slideLayouts/slideLayout86.xml"/><Relationship Id="rId93" Type="http://schemas.openxmlformats.org/officeDocument/2006/relationships/slideLayout" Target="../slideLayouts/slideLayout107.xml"/><Relationship Id="rId98" Type="http://schemas.openxmlformats.org/officeDocument/2006/relationships/slideLayout" Target="../slideLayouts/slideLayout112.xml"/><Relationship Id="rId121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60.xml"/><Relationship Id="rId67" Type="http://schemas.openxmlformats.org/officeDocument/2006/relationships/slideLayout" Target="../slideLayouts/slideLayout81.xml"/><Relationship Id="rId116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Relationship Id="rId62" Type="http://schemas.openxmlformats.org/officeDocument/2006/relationships/slideLayout" Target="../slideLayouts/slideLayout76.xml"/><Relationship Id="rId83" Type="http://schemas.openxmlformats.org/officeDocument/2006/relationships/slideLayout" Target="../slideLayouts/slideLayout97.xml"/><Relationship Id="rId88" Type="http://schemas.openxmlformats.org/officeDocument/2006/relationships/slideLayout" Target="../slideLayouts/slideLayout102.xml"/><Relationship Id="rId111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50.xml"/><Relationship Id="rId57" Type="http://schemas.openxmlformats.org/officeDocument/2006/relationships/slideLayout" Target="../slideLayouts/slideLayout71.xml"/><Relationship Id="rId106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45.xml"/><Relationship Id="rId52" Type="http://schemas.openxmlformats.org/officeDocument/2006/relationships/slideLayout" Target="../slideLayouts/slideLayout66.xml"/><Relationship Id="rId73" Type="http://schemas.openxmlformats.org/officeDocument/2006/relationships/slideLayout" Target="../slideLayouts/slideLayout87.xml"/><Relationship Id="rId78" Type="http://schemas.openxmlformats.org/officeDocument/2006/relationships/slideLayout" Target="../slideLayouts/slideLayout92.xml"/><Relationship Id="rId94" Type="http://schemas.openxmlformats.org/officeDocument/2006/relationships/slideLayout" Target="../slideLayouts/slideLayout108.xml"/><Relationship Id="rId99" Type="http://schemas.openxmlformats.org/officeDocument/2006/relationships/slideLayout" Target="../slideLayouts/slideLayout113.xml"/><Relationship Id="rId101" Type="http://schemas.openxmlformats.org/officeDocument/2006/relationships/slideLayout" Target="../slideLayouts/slideLayout115.xml"/><Relationship Id="rId122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0" r:id="rId2"/>
    <p:sldLayoutId id="2147483682" r:id="rId3"/>
    <p:sldLayoutId id="2147483693" r:id="rId4"/>
    <p:sldLayoutId id="2147483692" r:id="rId5"/>
    <p:sldLayoutId id="2147483690" r:id="rId6"/>
    <p:sldLayoutId id="2147483696" r:id="rId7"/>
    <p:sldLayoutId id="2147483694" r:id="rId8"/>
    <p:sldLayoutId id="2147483665" r:id="rId9"/>
    <p:sldLayoutId id="2147483685" r:id="rId10"/>
    <p:sldLayoutId id="2147483687" r:id="rId11"/>
    <p:sldLayoutId id="2147483697" r:id="rId12"/>
    <p:sldLayoutId id="2147483699" r:id="rId13"/>
    <p:sldLayoutId id="2147483700" r:id="rId14"/>
  </p:sldLayoutIdLst>
  <p:txStyles>
    <p:titleStyle>
      <a:lvl1pPr>
        <a:defRPr>
          <a:latin typeface="Palatino Linotype"/>
          <a:ea typeface="+mj-ea"/>
          <a:cs typeface="Palatino Linotype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4"/>
            </p:custDataLst>
            <p:extLst>
              <p:ext uri="{D42A27DB-BD31-4B8C-83A1-F6EECF244321}">
                <p14:modId xmlns:p14="http://schemas.microsoft.com/office/powerpoint/2010/main" val="2997156449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125" imgW="347" imgH="348" progId="TCLayout.ActiveDocument.1">
                  <p:embed/>
                </p:oleObj>
              </mc:Choice>
              <mc:Fallback>
                <p:oleObj name="think-cell Slide" r:id="rId12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0CFEF15-9166-45C8-AD89-9A1892A1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6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4312" y="402654"/>
            <a:ext cx="11595914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4312" y="2013259"/>
            <a:ext cx="11595914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4312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1/25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503" y="7009643"/>
            <a:ext cx="4537532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5205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2268009" y="347420"/>
            <a:ext cx="238482" cy="289058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824" tIns="18912" rIns="37824" bIns="189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89"/>
          </a:p>
        </p:txBody>
      </p:sp>
      <p:sp>
        <p:nvSpPr>
          <p:cNvPr id="8" name="TextBox 7"/>
          <p:cNvSpPr txBox="1"/>
          <p:nvPr userDrawn="1"/>
        </p:nvSpPr>
        <p:spPr>
          <a:xfrm>
            <a:off x="12331144" y="434674"/>
            <a:ext cx="112211" cy="1145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744" b="0" i="0" smtClean="0">
                <a:solidFill>
                  <a:schemeClr val="bg2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744" b="0" i="0">
              <a:solidFill>
                <a:schemeClr val="bg2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613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  <p:sldLayoutId id="2147483738" r:id="rId36"/>
    <p:sldLayoutId id="2147483739" r:id="rId37"/>
    <p:sldLayoutId id="2147483740" r:id="rId38"/>
    <p:sldLayoutId id="2147483741" r:id="rId39"/>
    <p:sldLayoutId id="2147483742" r:id="rId40"/>
    <p:sldLayoutId id="2147483743" r:id="rId41"/>
    <p:sldLayoutId id="2147483744" r:id="rId42"/>
    <p:sldLayoutId id="2147483745" r:id="rId43"/>
    <p:sldLayoutId id="2147483746" r:id="rId44"/>
    <p:sldLayoutId id="2147483747" r:id="rId45"/>
    <p:sldLayoutId id="2147483748" r:id="rId46"/>
    <p:sldLayoutId id="2147483749" r:id="rId47"/>
    <p:sldLayoutId id="2147483750" r:id="rId48"/>
    <p:sldLayoutId id="2147483751" r:id="rId49"/>
    <p:sldLayoutId id="2147483752" r:id="rId50"/>
    <p:sldLayoutId id="2147483753" r:id="rId51"/>
    <p:sldLayoutId id="2147483754" r:id="rId52"/>
    <p:sldLayoutId id="2147483755" r:id="rId53"/>
    <p:sldLayoutId id="2147483756" r:id="rId54"/>
    <p:sldLayoutId id="2147483757" r:id="rId55"/>
    <p:sldLayoutId id="2147483758" r:id="rId56"/>
    <p:sldLayoutId id="2147483759" r:id="rId57"/>
    <p:sldLayoutId id="2147483760" r:id="rId58"/>
    <p:sldLayoutId id="2147483761" r:id="rId59"/>
    <p:sldLayoutId id="2147483762" r:id="rId60"/>
    <p:sldLayoutId id="2147483763" r:id="rId61"/>
    <p:sldLayoutId id="2147483764" r:id="rId62"/>
    <p:sldLayoutId id="2147483765" r:id="rId63"/>
    <p:sldLayoutId id="2147483766" r:id="rId64"/>
    <p:sldLayoutId id="2147483767" r:id="rId65"/>
    <p:sldLayoutId id="2147483768" r:id="rId66"/>
    <p:sldLayoutId id="2147483769" r:id="rId67"/>
    <p:sldLayoutId id="2147483770" r:id="rId68"/>
    <p:sldLayoutId id="2147483771" r:id="rId69"/>
    <p:sldLayoutId id="2147483772" r:id="rId70"/>
    <p:sldLayoutId id="2147483773" r:id="rId71"/>
    <p:sldLayoutId id="2147483774" r:id="rId72"/>
    <p:sldLayoutId id="2147483775" r:id="rId73"/>
    <p:sldLayoutId id="2147483776" r:id="rId74"/>
    <p:sldLayoutId id="2147483777" r:id="rId75"/>
    <p:sldLayoutId id="2147483778" r:id="rId76"/>
    <p:sldLayoutId id="2147483779" r:id="rId77"/>
    <p:sldLayoutId id="2147483780" r:id="rId78"/>
    <p:sldLayoutId id="2147483781" r:id="rId79"/>
    <p:sldLayoutId id="2147483782" r:id="rId80"/>
    <p:sldLayoutId id="2147483783" r:id="rId81"/>
    <p:sldLayoutId id="2147483784" r:id="rId82"/>
    <p:sldLayoutId id="2147483785" r:id="rId83"/>
    <p:sldLayoutId id="2147483786" r:id="rId84"/>
    <p:sldLayoutId id="2147483787" r:id="rId85"/>
    <p:sldLayoutId id="2147483788" r:id="rId86"/>
    <p:sldLayoutId id="2147483789" r:id="rId87"/>
    <p:sldLayoutId id="2147483790" r:id="rId88"/>
    <p:sldLayoutId id="2147483791" r:id="rId89"/>
    <p:sldLayoutId id="2147483792" r:id="rId90"/>
    <p:sldLayoutId id="2147483793" r:id="rId91"/>
    <p:sldLayoutId id="2147483794" r:id="rId92"/>
    <p:sldLayoutId id="2147483795" r:id="rId93"/>
    <p:sldLayoutId id="2147483796" r:id="rId94"/>
    <p:sldLayoutId id="2147483797" r:id="rId95"/>
    <p:sldLayoutId id="2147483798" r:id="rId96"/>
    <p:sldLayoutId id="2147483799" r:id="rId97"/>
    <p:sldLayoutId id="2147483800" r:id="rId98"/>
    <p:sldLayoutId id="2147483801" r:id="rId99"/>
    <p:sldLayoutId id="2147483802" r:id="rId100"/>
    <p:sldLayoutId id="2147483803" r:id="rId101"/>
    <p:sldLayoutId id="2147483804" r:id="rId102"/>
    <p:sldLayoutId id="2147483805" r:id="rId103"/>
    <p:sldLayoutId id="2147483806" r:id="rId104"/>
    <p:sldLayoutId id="2147483807" r:id="rId105"/>
    <p:sldLayoutId id="2147483808" r:id="rId106"/>
    <p:sldLayoutId id="2147483809" r:id="rId107"/>
    <p:sldLayoutId id="2147483810" r:id="rId108"/>
    <p:sldLayoutId id="2147483811" r:id="rId109"/>
    <p:sldLayoutId id="2147483812" r:id="rId110"/>
    <p:sldLayoutId id="2147483813" r:id="rId111"/>
    <p:sldLayoutId id="2147483814" r:id="rId112"/>
    <p:sldLayoutId id="2147483815" r:id="rId113"/>
    <p:sldLayoutId id="2147483816" r:id="rId114"/>
    <p:sldLayoutId id="2147483817" r:id="rId115"/>
    <p:sldLayoutId id="2147483818" r:id="rId116"/>
    <p:sldLayoutId id="2147483819" r:id="rId117"/>
    <p:sldLayoutId id="2147483820" r:id="rId118"/>
    <p:sldLayoutId id="2147483821" r:id="rId119"/>
    <p:sldLayoutId id="2147483822" r:id="rId120"/>
    <p:sldLayoutId id="2147483823" r:id="rId121"/>
  </p:sldLayoutIdLst>
  <p:hf hdr="0" ftr="0" dt="0"/>
  <p:txStyles>
    <p:titleStyle>
      <a:lvl1pPr algn="l" defTabSz="1008400" rtl="0" eaLnBrk="1" latinLnBrk="0" hangingPunct="1">
        <a:lnSpc>
          <a:spcPct val="90000"/>
        </a:lnSpc>
        <a:spcBef>
          <a:spcPct val="0"/>
        </a:spcBef>
        <a:buNone/>
        <a:defRPr sz="39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08400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None/>
        <a:defRPr sz="2426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27731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3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5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7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10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52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4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6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3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person with collar shirt&#10;&#10;Description automatically generated">
            <a:extLst>
              <a:ext uri="{FF2B5EF4-FFF2-40B4-BE49-F238E27FC236}">
                <a16:creationId xmlns:a16="http://schemas.microsoft.com/office/drawing/2014/main" id="{04359A43-9056-45D5-B0D8-6E5506B9901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9981" r="9981"/>
          <a:stretch>
            <a:fillRect/>
          </a:stretch>
        </p:blipFill>
        <p:spPr/>
      </p:pic>
      <p:sp>
        <p:nvSpPr>
          <p:cNvPr id="4" name="Round Single Corner Rectangle 4">
            <a:extLst>
              <a:ext uri="{FF2B5EF4-FFF2-40B4-BE49-F238E27FC236}">
                <a16:creationId xmlns:a16="http://schemas.microsoft.com/office/drawing/2014/main" id="{F572D5CC-A2DF-4D33-8B9A-1DB9A4936878}"/>
              </a:ext>
            </a:extLst>
          </p:cNvPr>
          <p:cNvSpPr/>
          <p:nvPr/>
        </p:nvSpPr>
        <p:spPr>
          <a:xfrm>
            <a:off x="0" y="-34115"/>
            <a:ext cx="5334915" cy="4294079"/>
          </a:xfrm>
          <a:prstGeom prst="round1Rect">
            <a:avLst/>
          </a:prstGeom>
          <a:solidFill>
            <a:srgbClr val="7A3E7F">
              <a:alpha val="5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5" name="Picture 4" descr="A close up of a sign&#10;&#10;Description generated with high confidence">
            <a:extLst>
              <a:ext uri="{FF2B5EF4-FFF2-40B4-BE49-F238E27FC236}">
                <a16:creationId xmlns:a16="http://schemas.microsoft.com/office/drawing/2014/main" id="{54C30292-1ABB-4DE4-BDA5-775C7F13E73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140" y="255816"/>
            <a:ext cx="3290839" cy="1205167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886E60C-D6B6-476F-8669-CE4A7CE5C1B9}"/>
              </a:ext>
            </a:extLst>
          </p:cNvPr>
          <p:cNvSpPr txBox="1">
            <a:spLocks/>
          </p:cNvSpPr>
          <p:nvPr/>
        </p:nvSpPr>
        <p:spPr>
          <a:xfrm>
            <a:off x="649105" y="2191716"/>
            <a:ext cx="5118731" cy="916543"/>
          </a:xfrm>
          <a:prstGeom prst="rect">
            <a:avLst/>
          </a:prstGeom>
        </p:spPr>
        <p:txBody>
          <a:bodyPr/>
          <a:lstStyle>
            <a:lvl1pPr marL="0"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Subtle self-promo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</a:b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D83048-6B95-4EEF-8085-6155ADA9459F}"/>
              </a:ext>
            </a:extLst>
          </p:cNvPr>
          <p:cNvSpPr txBox="1">
            <a:spLocks/>
          </p:cNvSpPr>
          <p:nvPr/>
        </p:nvSpPr>
        <p:spPr>
          <a:xfrm>
            <a:off x="649105" y="3538049"/>
            <a:ext cx="5118731" cy="916543"/>
          </a:xfrm>
          <a:prstGeom prst="rect">
            <a:avLst/>
          </a:prstGeom>
        </p:spPr>
        <p:txBody>
          <a:bodyPr/>
          <a:lstStyle>
            <a:lvl1pPr marL="0"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1</a:t>
            </a:r>
            <a:r>
              <a:rPr kumimoji="0" lang="en-US" sz="3000" b="0" i="0" u="none" strike="noStrike" kern="0" cap="none" spc="0" normalizeH="0" baseline="3000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st</a:t>
            </a: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 December 2020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681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48886-AA7E-254C-B0AA-F8DC30EDE3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5861" y="675862"/>
            <a:ext cx="11760337" cy="1033668"/>
          </a:xfrm>
        </p:spPr>
        <p:txBody>
          <a:bodyPr/>
          <a:lstStyle/>
          <a:p>
            <a:r>
              <a:rPr lang="en-US" sz="3200" dirty="0"/>
              <a:t>Why self-promote?...</a:t>
            </a:r>
          </a:p>
        </p:txBody>
      </p:sp>
      <p:sp>
        <p:nvSpPr>
          <p:cNvPr id="4" name="Alternative Process 3">
            <a:extLst>
              <a:ext uri="{FF2B5EF4-FFF2-40B4-BE49-F238E27FC236}">
                <a16:creationId xmlns:a16="http://schemas.microsoft.com/office/drawing/2014/main" id="{FE344577-3A4F-0548-95A5-72504E8C1914}"/>
              </a:ext>
            </a:extLst>
          </p:cNvPr>
          <p:cNvSpPr/>
          <p:nvPr/>
        </p:nvSpPr>
        <p:spPr>
          <a:xfrm>
            <a:off x="1308908" y="2690310"/>
            <a:ext cx="2922105" cy="2922105"/>
          </a:xfrm>
          <a:prstGeom prst="flowChartAlternateProcess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…It’s not what you know…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C4E5C08-380D-4444-AA5C-588BFE223A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46182" y="2770309"/>
            <a:ext cx="2922105" cy="2842106"/>
          </a:xfrm>
          <a:prstGeom prst="flowChartAlternateProcess">
            <a:avLst/>
          </a:prstGeom>
          <a:solidFill>
            <a:schemeClr val="tx2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bg1"/>
                </a:solidFill>
              </a:rPr>
              <a:t>…It’s not who you know…</a:t>
            </a:r>
          </a:p>
        </p:txBody>
      </p:sp>
      <p:sp>
        <p:nvSpPr>
          <p:cNvPr id="6" name="Alternative Process 5">
            <a:extLst>
              <a:ext uri="{FF2B5EF4-FFF2-40B4-BE49-F238E27FC236}">
                <a16:creationId xmlns:a16="http://schemas.microsoft.com/office/drawing/2014/main" id="{0A202592-40AB-8948-914C-0B52023418F8}"/>
              </a:ext>
            </a:extLst>
          </p:cNvPr>
          <p:cNvSpPr/>
          <p:nvPr/>
        </p:nvSpPr>
        <p:spPr>
          <a:xfrm>
            <a:off x="9259036" y="2690309"/>
            <a:ext cx="2922105" cy="2922105"/>
          </a:xfrm>
          <a:prstGeom prst="flowChartAlternateProcess">
            <a:avLst/>
          </a:prstGeom>
          <a:solidFill>
            <a:schemeClr val="tx2">
              <a:lumMod val="75000"/>
              <a:lumOff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…It’s who knows you!</a:t>
            </a:r>
          </a:p>
        </p:txBody>
      </p:sp>
    </p:spTree>
    <p:extLst>
      <p:ext uri="{BB962C8B-B14F-4D97-AF65-F5344CB8AC3E}">
        <p14:creationId xmlns:p14="http://schemas.microsoft.com/office/powerpoint/2010/main" val="9953794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B648BC5-36A4-3344-8D1E-C1B32ADF9F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3863" y="812466"/>
            <a:ext cx="7884160" cy="923330"/>
          </a:xfrm>
        </p:spPr>
        <p:txBody>
          <a:bodyPr/>
          <a:lstStyle/>
          <a:p>
            <a:r>
              <a:rPr lang="en-US" sz="3200" dirty="0">
                <a:solidFill>
                  <a:schemeClr val="tx2"/>
                </a:solidFill>
                <a:latin typeface="Palatino Linotype" panose="02040502050505030304" pitchFamily="18" charset="0"/>
              </a:rPr>
              <a:t>Bragging vs. subtle self-promotion</a:t>
            </a:r>
          </a:p>
          <a:p>
            <a:endParaRPr lang="en-US" dirty="0">
              <a:solidFill>
                <a:schemeClr val="tx2"/>
              </a:solidFill>
              <a:latin typeface="Palatino Linotype" panose="02040502050505030304" pitchFamily="18" charset="0"/>
            </a:endParaRPr>
          </a:p>
          <a:p>
            <a:r>
              <a:rPr lang="en-US" dirty="0">
                <a:solidFill>
                  <a:schemeClr val="tx2"/>
                </a:solidFill>
                <a:latin typeface="+mj-lt"/>
              </a:rPr>
              <a:t> 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4D894C8-694B-D849-9F30-21622BBFE482}"/>
              </a:ext>
            </a:extLst>
          </p:cNvPr>
          <p:cNvSpPr txBox="1">
            <a:spLocks/>
          </p:cNvSpPr>
          <p:nvPr/>
        </p:nvSpPr>
        <p:spPr>
          <a:xfrm>
            <a:off x="493863" y="2063798"/>
            <a:ext cx="6361471" cy="3981984"/>
          </a:xfrm>
          <a:prstGeom prst="rect">
            <a:avLst/>
          </a:prstGeom>
        </p:spPr>
        <p:txBody>
          <a:bodyPr lIns="0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GB" kern="0">
              <a:solidFill>
                <a:schemeClr val="accent1"/>
              </a:solidFill>
              <a:latin typeface="Palatino" pitchFamily="2" charset="77"/>
              <a:ea typeface="Palatino" pitchFamily="2" charset="77"/>
            </a:endParaRPr>
          </a:p>
          <a:p>
            <a:pPr marL="285750" indent="-285750" defTabSz="914400"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GB" kern="0">
              <a:solidFill>
                <a:schemeClr val="accent1"/>
              </a:solidFill>
              <a:latin typeface="Palatino" pitchFamily="2" charset="77"/>
              <a:ea typeface="Palatino" pitchFamily="2" charset="77"/>
            </a:endParaRPr>
          </a:p>
          <a:p>
            <a:pPr marL="285750" indent="-285750" defTabSz="914400">
              <a:lnSpc>
                <a:spcPct val="200000"/>
              </a:lnSpc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US" kern="0">
              <a:solidFill>
                <a:schemeClr val="accent1"/>
              </a:solidFill>
              <a:latin typeface="Palatino" pitchFamily="2" charset="77"/>
              <a:ea typeface="Palatino" pitchFamily="2" charset="77"/>
            </a:endParaRPr>
          </a:p>
          <a:p>
            <a:pPr defTabSz="914400">
              <a:lnSpc>
                <a:spcPct val="200000"/>
              </a:lnSpc>
              <a:spcBef>
                <a:spcPts val="450"/>
              </a:spcBef>
            </a:pPr>
            <a:endParaRPr lang="en-US" kern="0">
              <a:solidFill>
                <a:schemeClr val="accent1"/>
              </a:solidFill>
              <a:latin typeface="Palatino" pitchFamily="2" charset="77"/>
              <a:ea typeface="Palatino" pitchFamily="2" charset="77"/>
            </a:endParaRPr>
          </a:p>
          <a:p>
            <a:pPr marL="285750" indent="-285750" defTabSz="914400">
              <a:lnSpc>
                <a:spcPct val="200000"/>
              </a:lnSpc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US" kern="0">
              <a:solidFill>
                <a:schemeClr val="accent1"/>
              </a:solidFill>
              <a:latin typeface="Palatino" pitchFamily="2" charset="77"/>
              <a:ea typeface="Palatino" pitchFamily="2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31DC9C2-95A3-0943-AB75-D6E3FB4EC21F}"/>
              </a:ext>
            </a:extLst>
          </p:cNvPr>
          <p:cNvSpPr txBox="1"/>
          <p:nvPr/>
        </p:nvSpPr>
        <p:spPr>
          <a:xfrm>
            <a:off x="3674598" y="4158216"/>
            <a:ext cx="683097" cy="2506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solidFill>
                  <a:schemeClr val="accent1"/>
                </a:solidFill>
              </a:rPr>
              <a:t>Vs.</a:t>
            </a:r>
          </a:p>
          <a:p>
            <a:pPr>
              <a:lnSpc>
                <a:spcPct val="150000"/>
              </a:lnSpc>
            </a:pPr>
            <a:endParaRPr lang="en-US" sz="28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accent1"/>
              </a:solidFill>
            </a:endParaRPr>
          </a:p>
        </p:txBody>
      </p:sp>
      <p:sp>
        <p:nvSpPr>
          <p:cNvPr id="6" name="Alternative Process 5">
            <a:extLst>
              <a:ext uri="{FF2B5EF4-FFF2-40B4-BE49-F238E27FC236}">
                <a16:creationId xmlns:a16="http://schemas.microsoft.com/office/drawing/2014/main" id="{DFBA50ED-DCC1-4463-BF90-2EFBB9EA1F61}"/>
              </a:ext>
            </a:extLst>
          </p:cNvPr>
          <p:cNvSpPr/>
          <p:nvPr/>
        </p:nvSpPr>
        <p:spPr>
          <a:xfrm>
            <a:off x="3056384" y="1986232"/>
            <a:ext cx="1698802" cy="1716959"/>
          </a:xfrm>
          <a:prstGeom prst="flowChartAlternateProcess">
            <a:avLst/>
          </a:prstGeom>
          <a:solidFill>
            <a:schemeClr val="tx2">
              <a:lumMod val="75000"/>
              <a:lumOff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howing off</a:t>
            </a:r>
          </a:p>
        </p:txBody>
      </p:sp>
      <p:sp>
        <p:nvSpPr>
          <p:cNvPr id="7" name="Alternative Process 5">
            <a:extLst>
              <a:ext uri="{FF2B5EF4-FFF2-40B4-BE49-F238E27FC236}">
                <a16:creationId xmlns:a16="http://schemas.microsoft.com/office/drawing/2014/main" id="{D5C4692E-4C53-402F-AE39-65D00921CA62}"/>
              </a:ext>
            </a:extLst>
          </p:cNvPr>
          <p:cNvSpPr/>
          <p:nvPr/>
        </p:nvSpPr>
        <p:spPr>
          <a:xfrm>
            <a:off x="3138920" y="5187302"/>
            <a:ext cx="1698802" cy="1716959"/>
          </a:xfrm>
          <a:prstGeom prst="flowChartAlternateProcess">
            <a:avLst/>
          </a:prstGeom>
          <a:solidFill>
            <a:schemeClr val="tx2">
              <a:lumMod val="75000"/>
              <a:lumOff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rticulating your value</a:t>
            </a:r>
          </a:p>
        </p:txBody>
      </p:sp>
      <p:pic>
        <p:nvPicPr>
          <p:cNvPr id="11" name="Picture Placeholder 10" descr="A picture containing hat, sweater, bag, shirt&#10;&#10;Description automatically generated">
            <a:extLst>
              <a:ext uri="{FF2B5EF4-FFF2-40B4-BE49-F238E27FC236}">
                <a16:creationId xmlns:a16="http://schemas.microsoft.com/office/drawing/2014/main" id="{140A4665-EF38-4926-85D8-EDDC9DB03C0B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5358" t="143" r="52710" b="-143"/>
          <a:stretch/>
        </p:blipFill>
        <p:spPr>
          <a:xfrm>
            <a:off x="8212950" y="-28722"/>
            <a:ext cx="5279456" cy="7602408"/>
          </a:xfrm>
        </p:spPr>
      </p:pic>
    </p:spTree>
    <p:extLst>
      <p:ext uri="{BB962C8B-B14F-4D97-AF65-F5344CB8AC3E}">
        <p14:creationId xmlns:p14="http://schemas.microsoft.com/office/powerpoint/2010/main" val="14314933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B2627A6-3CAD-4489-8E4A-E6DAE894DB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3200" dirty="0">
                <a:solidFill>
                  <a:schemeClr val="tx2"/>
                </a:solidFill>
                <a:latin typeface="Palatino Linotype" panose="02040502050505030304" pitchFamily="18" charset="0"/>
              </a:rPr>
              <a:t>Why we don’t…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CECA3F-0C22-421B-9C05-4D6A780045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28614" y="1948661"/>
            <a:ext cx="8480376" cy="4546600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Imposter syndrome</a:t>
            </a:r>
            <a:endParaRPr lang="en-GB" sz="24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1"/>
                </a:solidFill>
              </a:rPr>
              <a:t>Thinking your work will speak for itself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1"/>
                </a:solidFill>
              </a:rPr>
              <a:t>Waiting to be ask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1"/>
                </a:solidFill>
              </a:rPr>
              <a:t>Tall poppy syndrom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1"/>
                </a:solidFill>
              </a:rPr>
              <a:t>Scared to rock the boat</a:t>
            </a:r>
            <a:endParaRPr lang="en-US" sz="2400" dirty="0">
              <a:solidFill>
                <a:schemeClr val="accent1"/>
              </a:solidFill>
            </a:endParaRPr>
          </a:p>
        </p:txBody>
      </p:sp>
      <p:pic>
        <p:nvPicPr>
          <p:cNvPr id="8" name="Picture Placeholder 7" descr="A close up of a flower&#10;&#10;Description automatically generated">
            <a:extLst>
              <a:ext uri="{FF2B5EF4-FFF2-40B4-BE49-F238E27FC236}">
                <a16:creationId xmlns:a16="http://schemas.microsoft.com/office/drawing/2014/main" id="{1EE0CFD6-D156-44EF-8E71-004D90E3FEFA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48129" t="250" r="21883" b="-250"/>
          <a:stretch/>
        </p:blipFill>
        <p:spPr>
          <a:xfrm>
            <a:off x="-15384" y="-13743"/>
            <a:ext cx="3696950" cy="7595569"/>
          </a:xfrm>
        </p:spPr>
      </p:pic>
    </p:spTree>
    <p:extLst>
      <p:ext uri="{BB962C8B-B14F-4D97-AF65-F5344CB8AC3E}">
        <p14:creationId xmlns:p14="http://schemas.microsoft.com/office/powerpoint/2010/main" val="35895400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02941F-3C34-4892-B395-8726041443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400" dirty="0">
                <a:solidFill>
                  <a:schemeClr val="accent1"/>
                </a:solidFill>
              </a:rPr>
              <a:t>Include others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400" dirty="0">
                <a:solidFill>
                  <a:schemeClr val="accent1"/>
                </a:solidFill>
              </a:rPr>
              <a:t>Speak in facts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400" dirty="0">
                <a:solidFill>
                  <a:schemeClr val="accent1"/>
                </a:solidFill>
              </a:rPr>
              <a:t>Share the challenges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400" dirty="0">
                <a:solidFill>
                  <a:schemeClr val="accent1"/>
                </a:solidFill>
              </a:rPr>
              <a:t>Share your excitement/passion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400" dirty="0">
                <a:solidFill>
                  <a:schemeClr val="accent1"/>
                </a:solidFill>
              </a:rPr>
              <a:t>Help others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400" dirty="0">
                <a:solidFill>
                  <a:schemeClr val="accent1"/>
                </a:solidFill>
              </a:rPr>
              <a:t>Keep track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400" dirty="0">
                <a:solidFill>
                  <a:schemeClr val="accent1"/>
                </a:solidFill>
              </a:rPr>
              <a:t>Use stories (inspire others)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47C82C-A1C6-4F34-AD7B-0ED3D63C47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3200" dirty="0">
                <a:solidFill>
                  <a:schemeClr val="tx2"/>
                </a:solidFill>
                <a:latin typeface="Palatino Linotype" panose="02040502050505030304" pitchFamily="18" charset="0"/>
              </a:rPr>
              <a:t>Strategies to subtly self-promote</a:t>
            </a:r>
          </a:p>
        </p:txBody>
      </p:sp>
      <p:pic>
        <p:nvPicPr>
          <p:cNvPr id="8" name="Picture Placeholder 7" descr="A picture containing indoor, table, sitting, computer&#10;&#10;Description automatically generated">
            <a:extLst>
              <a:ext uri="{FF2B5EF4-FFF2-40B4-BE49-F238E27FC236}">
                <a16:creationId xmlns:a16="http://schemas.microsoft.com/office/drawing/2014/main" id="{4595FAC3-A94C-4C84-8FDA-F5E5A5D7BFC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6072" t="-367" r="47684" b="367"/>
          <a:stretch/>
        </p:blipFill>
        <p:spPr>
          <a:xfrm>
            <a:off x="9798677" y="-27879"/>
            <a:ext cx="3673742" cy="7601563"/>
          </a:xfrm>
        </p:spPr>
      </p:pic>
    </p:spTree>
    <p:extLst>
      <p:ext uri="{BB962C8B-B14F-4D97-AF65-F5344CB8AC3E}">
        <p14:creationId xmlns:p14="http://schemas.microsoft.com/office/powerpoint/2010/main" val="36204069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group of people sitting posing for the camera&#10;&#10;Description automatically generated">
            <a:extLst>
              <a:ext uri="{FF2B5EF4-FFF2-40B4-BE49-F238E27FC236}">
                <a16:creationId xmlns:a16="http://schemas.microsoft.com/office/drawing/2014/main" id="{191B74CE-A290-CB4B-BCDE-37811F03B37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444538" cy="7562850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94AD0A5-5815-D844-AD37-A6F496A24043}"/>
              </a:ext>
            </a:extLst>
          </p:cNvPr>
          <p:cNvSpPr txBox="1"/>
          <p:nvPr/>
        </p:nvSpPr>
        <p:spPr>
          <a:xfrm>
            <a:off x="2065503" y="478000"/>
            <a:ext cx="9313532" cy="729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43000"/>
              </a:lnSpc>
            </a:pPr>
            <a:r>
              <a:rPr lang="en-GB" altLang="en-US" sz="3200">
                <a:solidFill>
                  <a:schemeClr val="bg1"/>
                </a:solidFill>
                <a:latin typeface="Palatino Linotype" panose="02040502050505030304" pitchFamily="18" charset="0"/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7720862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7D4516-7CB5-4EEB-81B1-1532D25155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Dates for your diary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D19AB6C2-F5D6-4235-A9CF-5CED99A41D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7838742"/>
              </p:ext>
            </p:extLst>
          </p:nvPr>
        </p:nvGraphicFramePr>
        <p:xfrm>
          <a:off x="785669" y="1557082"/>
          <a:ext cx="8069339" cy="41176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5155">
                  <a:extLst>
                    <a:ext uri="{9D8B030D-6E8A-4147-A177-3AD203B41FA5}">
                      <a16:colId xmlns:a16="http://schemas.microsoft.com/office/drawing/2014/main" val="57637679"/>
                    </a:ext>
                  </a:extLst>
                </a:gridCol>
                <a:gridCol w="958216">
                  <a:extLst>
                    <a:ext uri="{9D8B030D-6E8A-4147-A177-3AD203B41FA5}">
                      <a16:colId xmlns:a16="http://schemas.microsoft.com/office/drawing/2014/main" val="3930799977"/>
                    </a:ext>
                  </a:extLst>
                </a:gridCol>
                <a:gridCol w="5235968">
                  <a:extLst>
                    <a:ext uri="{9D8B030D-6E8A-4147-A177-3AD203B41FA5}">
                      <a16:colId xmlns:a16="http://schemas.microsoft.com/office/drawing/2014/main" val="29856892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ime (GM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Topi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6854572"/>
                  </a:ext>
                </a:extLst>
              </a:tr>
              <a:tr h="579600">
                <a:tc>
                  <a:txBody>
                    <a:bodyPr/>
                    <a:lstStyle/>
                    <a:p>
                      <a:r>
                        <a:rPr lang="en-GB" sz="1600"/>
                        <a:t>9</a:t>
                      </a:r>
                      <a:r>
                        <a:rPr lang="en-GB" sz="1600" baseline="30000"/>
                        <a:t>th</a:t>
                      </a:r>
                      <a:r>
                        <a:rPr lang="en-GB" sz="1600"/>
                        <a:t> Decemb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600"/>
                        <a:t>16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Taking stoc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4481753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b="0" i="0" u="none" strike="noStrike" noProof="0">
                          <a:latin typeface="Trebuchet MS"/>
                        </a:rPr>
                        <a:t>15</a:t>
                      </a:r>
                      <a:r>
                        <a:rPr lang="en-GB" sz="1600" b="0" i="0" u="none" strike="noStrike" baseline="30000" noProof="0">
                          <a:latin typeface="Trebuchet MS"/>
                        </a:rPr>
                        <a:t>th </a:t>
                      </a:r>
                      <a:r>
                        <a:rPr lang="en-GB" sz="1600" noProof="0">
                          <a:solidFill>
                            <a:srgbClr val="474D52"/>
                          </a:solidFill>
                          <a:latin typeface="Trebuchet MS"/>
                        </a:rPr>
                        <a:t>December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/>
                        <a:t>09.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EQ series: Self-relia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97833368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6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January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6.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New year, new you? How to make realistic resolutions and actually deliver on the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9568567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12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Janua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09.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Managing resistance to change at wor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9520969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19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Janua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6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Overcome hidden traps in your decision mak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49691157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5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Janua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4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Moving forward from feeling stuc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13016344"/>
                  </a:ext>
                </a:extLst>
              </a:tr>
            </a:tbl>
          </a:graphicData>
        </a:graphic>
      </p:graphicFrame>
      <p:pic>
        <p:nvPicPr>
          <p:cNvPr id="7" name="Picture Placeholder 6" descr="Calendar&#10;&#10;Description automatically generated">
            <a:extLst>
              <a:ext uri="{FF2B5EF4-FFF2-40B4-BE49-F238E27FC236}">
                <a16:creationId xmlns:a16="http://schemas.microsoft.com/office/drawing/2014/main" id="{EAAD4F88-5935-405E-B3F4-8296B960793E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49106" t="-112" r="18642" b="112"/>
          <a:stretch/>
        </p:blipFill>
        <p:spPr>
          <a:xfrm>
            <a:off x="9798677" y="-27879"/>
            <a:ext cx="3673742" cy="7601563"/>
          </a:xfrm>
        </p:spPr>
      </p:pic>
    </p:spTree>
    <p:extLst>
      <p:ext uri="{BB962C8B-B14F-4D97-AF65-F5344CB8AC3E}">
        <p14:creationId xmlns:p14="http://schemas.microsoft.com/office/powerpoint/2010/main" val="2684414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67A9F82-33A7-E04B-899D-A6C6B370859F}"/>
              </a:ext>
            </a:extLst>
          </p:cNvPr>
          <p:cNvSpPr/>
          <p:nvPr/>
        </p:nvSpPr>
        <p:spPr>
          <a:xfrm>
            <a:off x="5148493" y="2376666"/>
            <a:ext cx="5207829" cy="28095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74D52">
                  <a:lumMod val="40000"/>
                  <a:lumOff val="6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375AED-0DEF-2646-96E5-8FD9DAA37F9A}"/>
              </a:ext>
            </a:extLst>
          </p:cNvPr>
          <p:cNvSpPr txBox="1"/>
          <p:nvPr/>
        </p:nvSpPr>
        <p:spPr>
          <a:xfrm>
            <a:off x="5717453" y="2873484"/>
            <a:ext cx="463887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Palatino" pitchFamily="2" charset="77"/>
                <a:ea typeface="Palatino" pitchFamily="2" charset="77"/>
                <a:cs typeface="+mn-cs"/>
              </a:rPr>
              <a:t>Director of Learn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3A1D3C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3A1D3C">
                    <a:lumMod val="90000"/>
                    <a:lumOff val="10000"/>
                  </a:srgbClr>
                </a:solidFill>
                <a:effectLst/>
                <a:uLnTx/>
                <a:uFillTx/>
                <a:latin typeface="Palatino" pitchFamily="2" charset="77"/>
                <a:ea typeface="Palatino" pitchFamily="2" charset="77"/>
                <a:cs typeface="Avenir Next" charset="0"/>
              </a:rPr>
              <a:t>Kate Farrow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A1D3C">
                  <a:lumMod val="90000"/>
                  <a:lumOff val="1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Avenir Next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474D52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Avenir Next Demi Bold" charset="0"/>
              </a:rPr>
              <a:t>kate@everywoman.com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A1D3C">
                  <a:lumMod val="90000"/>
                  <a:lumOff val="1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Avenir Next" charset="0"/>
            </a:endParaRPr>
          </a:p>
        </p:txBody>
      </p:sp>
      <p:pic>
        <p:nvPicPr>
          <p:cNvPr id="13" name="Picture Placeholder 18">
            <a:extLst>
              <a:ext uri="{FF2B5EF4-FFF2-40B4-BE49-F238E27FC236}">
                <a16:creationId xmlns:a16="http://schemas.microsoft.com/office/drawing/2014/main" id="{1DAE59CC-10EB-4D41-B8AF-6CCF939BB5F0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99488" y="2376666"/>
            <a:ext cx="2749003" cy="2809518"/>
          </a:xfrm>
        </p:spPr>
      </p:pic>
    </p:spTree>
    <p:extLst>
      <p:ext uri="{BB962C8B-B14F-4D97-AF65-F5344CB8AC3E}">
        <p14:creationId xmlns:p14="http://schemas.microsoft.com/office/powerpoint/2010/main" val="19297405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B83923-0B9A-0841-965D-041D24F157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1979" y="531867"/>
            <a:ext cx="6069736" cy="923330"/>
          </a:xfrm>
        </p:spPr>
        <p:txBody>
          <a:bodyPr/>
          <a:lstStyle/>
          <a:p>
            <a:r>
              <a:rPr lang="en-US" err="1">
                <a:solidFill>
                  <a:schemeClr val="tx2"/>
                </a:solidFill>
              </a:rPr>
              <a:t>Dialling</a:t>
            </a:r>
            <a:r>
              <a:rPr lang="en-US">
                <a:solidFill>
                  <a:schemeClr val="tx2"/>
                </a:solidFill>
              </a:rPr>
              <a:t> in</a:t>
            </a:r>
          </a:p>
          <a:p>
            <a:r>
              <a:rPr lang="en-US" sz="2000"/>
              <a:t>You will not need a microph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175196-B032-434C-9B3E-CD59D752C2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71979" y="1557505"/>
            <a:ext cx="6069663" cy="2692093"/>
          </a:xfrm>
        </p:spPr>
        <p:txBody>
          <a:bodyPr/>
          <a:lstStyle/>
          <a:p>
            <a:pPr algn="l">
              <a:lnSpc>
                <a:spcPct val="150000"/>
              </a:lnSpc>
              <a:defRPr/>
            </a:pPr>
            <a:r>
              <a:rPr lang="en-GB" sz="1600" b="1">
                <a:solidFill>
                  <a:schemeClr val="accent1"/>
                </a:solidFill>
                <a:latin typeface="Trebuchet MS" pitchFamily="34" charset="0"/>
              </a:rPr>
              <a:t>To use headphones:</a:t>
            </a:r>
          </a:p>
          <a:p>
            <a:pPr algn="l">
              <a:lnSpc>
                <a:spcPct val="150000"/>
              </a:lnSpc>
              <a:defRPr/>
            </a:pPr>
            <a:r>
              <a:rPr lang="en-GB" sz="1600">
                <a:latin typeface="Trebuchet MS" pitchFamily="34" charset="0"/>
              </a:rPr>
              <a:t>click ‘Call Using Computer’</a:t>
            </a:r>
            <a:br>
              <a:rPr lang="en-GB" sz="1600">
                <a:latin typeface="Trebuchet MS" pitchFamily="34" charset="0"/>
              </a:rPr>
            </a:br>
            <a:endParaRPr lang="en-GB" sz="1600">
              <a:latin typeface="Trebuchet MS" pitchFamily="34" charset="0"/>
            </a:endParaRPr>
          </a:p>
          <a:p>
            <a:pPr algn="l">
              <a:lnSpc>
                <a:spcPct val="150000"/>
              </a:lnSpc>
              <a:defRPr/>
            </a:pPr>
            <a:r>
              <a:rPr lang="en-GB" sz="1600" b="1">
                <a:solidFill>
                  <a:schemeClr val="accent1"/>
                </a:solidFill>
                <a:latin typeface="Trebuchet MS" pitchFamily="34" charset="0"/>
              </a:rPr>
              <a:t>To dial in and listen via phone: </a:t>
            </a:r>
          </a:p>
          <a:p>
            <a:pPr algn="l">
              <a:lnSpc>
                <a:spcPct val="150000"/>
              </a:lnSpc>
              <a:defRPr/>
            </a:pPr>
            <a:r>
              <a:rPr lang="en-GB" sz="1600">
                <a:latin typeface="Trebuchet MS" pitchFamily="34" charset="0"/>
              </a:rPr>
              <a:t>CLICK ‘Phone Call’ </a:t>
            </a:r>
            <a:br>
              <a:rPr lang="en-GB" sz="1600">
                <a:latin typeface="Trebuchet MS" pitchFamily="34" charset="0"/>
              </a:rPr>
            </a:br>
            <a:endParaRPr lang="en-GB" sz="1600">
              <a:latin typeface="Trebuchet MS" pitchFamily="34" charset="0"/>
            </a:endParaRPr>
          </a:p>
          <a:p>
            <a:pPr algn="l">
              <a:lnSpc>
                <a:spcPct val="150000"/>
              </a:lnSpc>
              <a:defRPr/>
            </a:pPr>
            <a:r>
              <a:rPr lang="en-GB" sz="1600">
                <a:latin typeface="Trebuchet MS" pitchFamily="34" charset="0"/>
              </a:rPr>
              <a:t>and follow the instructions on screen</a:t>
            </a:r>
          </a:p>
          <a:p>
            <a:pPr algn="l">
              <a:lnSpc>
                <a:spcPct val="150000"/>
              </a:lnSpc>
              <a:defRPr/>
            </a:pPr>
            <a:endParaRPr lang="en-GB" sz="1600">
              <a:latin typeface="Trebuchet MS" pitchFamily="34" charset="0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D88AD465-AFD6-DA43-A542-B1D91C254A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1979" y="4329985"/>
            <a:ext cx="4914900" cy="2771775"/>
          </a:xfrm>
          <a:prstGeom prst="rect">
            <a:avLst/>
          </a:prstGeom>
        </p:spPr>
      </p:pic>
      <p:pic>
        <p:nvPicPr>
          <p:cNvPr id="8" name="image5.png">
            <a:extLst>
              <a:ext uri="{FF2B5EF4-FFF2-40B4-BE49-F238E27FC236}">
                <a16:creationId xmlns:a16="http://schemas.microsoft.com/office/drawing/2014/main" id="{5DD890D4-831F-1C4A-9B53-7540D82954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62806" y="4329985"/>
            <a:ext cx="3507703" cy="2724699"/>
          </a:xfrm>
          <a:prstGeom prst="rect">
            <a:avLst/>
          </a:prstGeom>
          <a:ln w="38100">
            <a:noFill/>
          </a:ln>
        </p:spPr>
      </p:pic>
      <p:pic>
        <p:nvPicPr>
          <p:cNvPr id="12" name="Picture Placeholder 11" descr="A person taking a selfie&#10;&#10;Description automatically generated">
            <a:extLst>
              <a:ext uri="{FF2B5EF4-FFF2-40B4-BE49-F238E27FC236}">
                <a16:creationId xmlns:a16="http://schemas.microsoft.com/office/drawing/2014/main" id="{090F978A-F985-1346-9C6D-F3A887622F0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4288"/>
            <a:ext cx="3697288" cy="7596188"/>
          </a:xfrm>
        </p:spPr>
      </p:pic>
    </p:spTree>
    <p:extLst>
      <p:ext uri="{BB962C8B-B14F-4D97-AF65-F5344CB8AC3E}">
        <p14:creationId xmlns:p14="http://schemas.microsoft.com/office/powerpoint/2010/main" val="8078086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743824"/>
            <a:ext cx="9016409" cy="543043"/>
          </a:xfrm>
        </p:spPr>
        <p:txBody>
          <a:bodyPr lIns="0"/>
          <a:lstStyle/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Question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2268" y="1492236"/>
            <a:ext cx="9016409" cy="389574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US" sz="1600" b="1">
                <a:solidFill>
                  <a:schemeClr val="bg1"/>
                </a:solidFill>
                <a:latin typeface="Trebuchet MS" panose="020B0603020202020204" pitchFamily="34" charset="0"/>
              </a:rPr>
              <a:t>Send a question on the webinar</a:t>
            </a:r>
          </a:p>
          <a:p>
            <a:pPr algn="l">
              <a:spcBef>
                <a:spcPts val="450"/>
              </a:spcBef>
            </a:pPr>
            <a:endParaRPr lang="en-US" sz="1600" b="1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1600" b="1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160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23" name="Picture Placeholder 9">
            <a:extLst>
              <a:ext uri="{FF2B5EF4-FFF2-40B4-BE49-F238E27FC236}">
                <a16:creationId xmlns:a16="http://schemas.microsoft.com/office/drawing/2014/main" id="{49063ABE-07D8-D145-B97B-D5121EA874A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179"/>
          <a:stretch/>
        </p:blipFill>
        <p:spPr>
          <a:xfrm>
            <a:off x="8274706" y="-28722"/>
            <a:ext cx="5279456" cy="760240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5284858"/>
              <a:gd name="connsiteY0" fmla="*/ 0 h 7618353"/>
              <a:gd name="connsiteX1" fmla="*/ 3677493 w 5284858"/>
              <a:gd name="connsiteY1" fmla="*/ 7409 h 7618353"/>
              <a:gd name="connsiteX2" fmla="*/ 5284858 w 5284858"/>
              <a:gd name="connsiteY2" fmla="*/ 7615909 h 7618353"/>
              <a:gd name="connsiteX3" fmla="*/ 603071 w 5284858"/>
              <a:gd name="connsiteY3" fmla="*/ 7615908 h 7618353"/>
              <a:gd name="connsiteX4" fmla="*/ 1742 w 5284858"/>
              <a:gd name="connsiteY4" fmla="*/ 7014579 h 7618353"/>
              <a:gd name="connsiteX5" fmla="*/ 0 w 5284858"/>
              <a:gd name="connsiteY5" fmla="*/ 0 h 7618353"/>
              <a:gd name="connsiteX0" fmla="*/ 0 w 5284858"/>
              <a:gd name="connsiteY0" fmla="*/ 846 h 7619199"/>
              <a:gd name="connsiteX1" fmla="*/ 5260775 w 5284858"/>
              <a:gd name="connsiteY1" fmla="*/ 0 h 7619199"/>
              <a:gd name="connsiteX2" fmla="*/ 5284858 w 5284858"/>
              <a:gd name="connsiteY2" fmla="*/ 7616755 h 7619199"/>
              <a:gd name="connsiteX3" fmla="*/ 603071 w 5284858"/>
              <a:gd name="connsiteY3" fmla="*/ 7616754 h 7619199"/>
              <a:gd name="connsiteX4" fmla="*/ 1742 w 5284858"/>
              <a:gd name="connsiteY4" fmla="*/ 7015425 h 7619199"/>
              <a:gd name="connsiteX5" fmla="*/ 0 w 5284858"/>
              <a:gd name="connsiteY5" fmla="*/ 846 h 761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4858" h="7619199">
                <a:moveTo>
                  <a:pt x="0" y="846"/>
                </a:moveTo>
                <a:cubicBezTo>
                  <a:pt x="5813" y="4800"/>
                  <a:pt x="5267369" y="10413"/>
                  <a:pt x="5260775" y="0"/>
                </a:cubicBezTo>
                <a:cubicBezTo>
                  <a:pt x="5257959" y="4573"/>
                  <a:pt x="5274084" y="7620849"/>
                  <a:pt x="5284858" y="7616755"/>
                </a:cubicBezTo>
                <a:cubicBezTo>
                  <a:pt x="5274850" y="7622256"/>
                  <a:pt x="1624911" y="7616754"/>
                  <a:pt x="603071" y="7616754"/>
                </a:cubicBezTo>
                <a:cubicBezTo>
                  <a:pt x="270966" y="7616754"/>
                  <a:pt x="1742" y="7347530"/>
                  <a:pt x="1742" y="7015425"/>
                </a:cubicBezTo>
                <a:cubicBezTo>
                  <a:pt x="1742" y="4572200"/>
                  <a:pt x="5576" y="1954"/>
                  <a:pt x="0" y="846"/>
                </a:cubicBezTo>
                <a:close/>
              </a:path>
            </a:pathLst>
          </a:custGeom>
        </p:spPr>
      </p:pic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C8A80F36-A2A4-044F-BB32-57EACA401B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268" y="2186250"/>
            <a:ext cx="2915074" cy="4831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6708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lIns="0"/>
          <a:lstStyle/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Let’s get chatting</a:t>
            </a:r>
          </a:p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using the chat function</a:t>
            </a:r>
          </a:p>
        </p:txBody>
      </p:sp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9177A719-81B2-45C8-9167-D18B8D51F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1130" y="2429636"/>
            <a:ext cx="4226147" cy="451429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77CEC2-88DC-4E38-A893-3A9FCE61D04F}"/>
              </a:ext>
            </a:extLst>
          </p:cNvPr>
          <p:cNvSpPr/>
          <p:nvPr/>
        </p:nvSpPr>
        <p:spPr>
          <a:xfrm>
            <a:off x="6858000" y="5676900"/>
            <a:ext cx="2457450" cy="6477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7" name="Picture Placeholder 6" descr="A person using a computer&#10;&#10;Description automatically generated">
            <a:extLst>
              <a:ext uri="{FF2B5EF4-FFF2-40B4-BE49-F238E27FC236}">
                <a16:creationId xmlns:a16="http://schemas.microsoft.com/office/drawing/2014/main" id="{9721A5E0-C081-4338-960F-3BABB8CD620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1"/>
          <a:stretch/>
        </p:blipFill>
        <p:spPr>
          <a:xfrm>
            <a:off x="-15384" y="-13743"/>
            <a:ext cx="3696950" cy="7595569"/>
          </a:xfrm>
        </p:spPr>
      </p:pic>
    </p:spTree>
    <p:extLst>
      <p:ext uri="{BB962C8B-B14F-4D97-AF65-F5344CB8AC3E}">
        <p14:creationId xmlns:p14="http://schemas.microsoft.com/office/powerpoint/2010/main" val="4232771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icture containing text&#10;&#10;Description automatically generated">
            <a:extLst>
              <a:ext uri="{FF2B5EF4-FFF2-40B4-BE49-F238E27FC236}">
                <a16:creationId xmlns:a16="http://schemas.microsoft.com/office/drawing/2014/main" id="{357C69DD-AD14-428D-8FEA-CB039D9D4D1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duotone>
              <a:prstClr val="black"/>
              <a:srgbClr val="512254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93723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C7DFA971-1C05-4A87-A67F-0A7F8CC327BA}"/>
              </a:ext>
            </a:extLst>
          </p:cNvPr>
          <p:cNvSpPr txBox="1"/>
          <p:nvPr/>
        </p:nvSpPr>
        <p:spPr>
          <a:xfrm>
            <a:off x="1045029" y="604162"/>
            <a:ext cx="894021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JOIN THE EVERYWOMAN COMMUNIT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be part of the conver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BB63090-7BD5-1C49-99E1-F38A00A48412}"/>
              </a:ext>
            </a:extLst>
          </p:cNvPr>
          <p:cNvSpPr/>
          <p:nvPr/>
        </p:nvSpPr>
        <p:spPr>
          <a:xfrm>
            <a:off x="1045028" y="5054258"/>
            <a:ext cx="1174054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If you enjoyed this everywomanNetwork webinar, share it on your favourite social channel, tagging everywoman and using #ewNetwork </a:t>
            </a:r>
          </a:p>
        </p:txBody>
      </p:sp>
      <p:pic>
        <p:nvPicPr>
          <p:cNvPr id="7" name="Picture 6" descr="A picture containing object, kit, drawing, table&#10;&#10;Description automatically generated">
            <a:extLst>
              <a:ext uri="{FF2B5EF4-FFF2-40B4-BE49-F238E27FC236}">
                <a16:creationId xmlns:a16="http://schemas.microsoft.com/office/drawing/2014/main" id="{8114EBB9-9580-B94D-B573-D73D28521C7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2905" y="2588013"/>
            <a:ext cx="1193800" cy="11430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AE533CA0-6F96-F04D-A546-DDA40B6DA5A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2251" y="2588013"/>
            <a:ext cx="1193800" cy="1143000"/>
          </a:xfrm>
          <a:prstGeom prst="rect">
            <a:avLst/>
          </a:prstGeom>
        </p:spPr>
      </p:pic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50D88AF0-581D-E14F-B3F7-D5BDCAA287E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8917" y="2588013"/>
            <a:ext cx="1193800" cy="1143000"/>
          </a:xfrm>
          <a:prstGeom prst="rect">
            <a:avLst/>
          </a:prstGeom>
        </p:spPr>
      </p:pic>
      <p:pic>
        <p:nvPicPr>
          <p:cNvPr id="19" name="Picture 1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FEA56A9-0861-BF48-8FC9-54EE83369EC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2578" y="2588013"/>
            <a:ext cx="1193800" cy="1143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BC801D7-6D57-FB4A-BAB9-E6DF51CF9804}"/>
              </a:ext>
            </a:extLst>
          </p:cNvPr>
          <p:cNvSpPr/>
          <p:nvPr/>
        </p:nvSpPr>
        <p:spPr>
          <a:xfrm>
            <a:off x="1227909" y="3894636"/>
            <a:ext cx="21746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LTD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7523AE-DB92-F245-BB1A-88011020A8EF}"/>
              </a:ext>
            </a:extLst>
          </p:cNvPr>
          <p:cNvSpPr/>
          <p:nvPr/>
        </p:nvSpPr>
        <p:spPr>
          <a:xfrm flipH="1">
            <a:off x="4016268" y="389463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99B33E-62CB-934C-ACE9-DFEF341F0039}"/>
              </a:ext>
            </a:extLst>
          </p:cNvPr>
          <p:cNvSpPr/>
          <p:nvPr/>
        </p:nvSpPr>
        <p:spPr>
          <a:xfrm flipH="1">
            <a:off x="6987508" y="390774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9B717E8-EE95-464D-84D3-DF4761B4591C}"/>
              </a:ext>
            </a:extLst>
          </p:cNvPr>
          <p:cNvSpPr/>
          <p:nvPr/>
        </p:nvSpPr>
        <p:spPr>
          <a:xfrm flipH="1">
            <a:off x="9787835" y="392085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442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67A9F82-33A7-E04B-899D-A6C6B370859F}"/>
              </a:ext>
            </a:extLst>
          </p:cNvPr>
          <p:cNvSpPr/>
          <p:nvPr/>
        </p:nvSpPr>
        <p:spPr>
          <a:xfrm>
            <a:off x="3113538" y="2367723"/>
            <a:ext cx="5207829" cy="28095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375AED-0DEF-2646-96E5-8FD9DAA37F9A}"/>
              </a:ext>
            </a:extLst>
          </p:cNvPr>
          <p:cNvSpPr txBox="1"/>
          <p:nvPr/>
        </p:nvSpPr>
        <p:spPr>
          <a:xfrm>
            <a:off x="4779607" y="2917231"/>
            <a:ext cx="463887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dirty="0">
              <a:solidFill>
                <a:schemeClr val="accent2"/>
              </a:solidFill>
            </a:endParaRPr>
          </a:p>
          <a:p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  <a:latin typeface="Palatino" pitchFamily="2" charset="77"/>
                <a:ea typeface="Palatino" pitchFamily="2" charset="77"/>
                <a:cs typeface="Avenir Next" charset="0"/>
              </a:rPr>
              <a:t>Jodi Goldman</a:t>
            </a:r>
          </a:p>
          <a:p>
            <a:endParaRPr lang="en-US" sz="2400" dirty="0">
              <a:solidFill>
                <a:schemeClr val="tx2">
                  <a:lumMod val="90000"/>
                  <a:lumOff val="10000"/>
                </a:schemeClr>
              </a:solidFill>
              <a:latin typeface="Palatino" pitchFamily="2" charset="77"/>
              <a:ea typeface="Palatino" pitchFamily="2" charset="77"/>
              <a:cs typeface="Avenir Next" charset="0"/>
            </a:endParaRPr>
          </a:p>
          <a:p>
            <a:r>
              <a:rPr lang="en-US" sz="2000" dirty="0">
                <a:solidFill>
                  <a:schemeClr val="accent1"/>
                </a:solidFill>
                <a:latin typeface="Palatino" pitchFamily="2" charset="77"/>
                <a:ea typeface="Palatino" pitchFamily="2" charset="77"/>
                <a:cs typeface="Avenir Next" charset="0"/>
              </a:rPr>
              <a:t>everywoman expert</a:t>
            </a:r>
          </a:p>
        </p:txBody>
      </p:sp>
      <p:pic>
        <p:nvPicPr>
          <p:cNvPr id="141316" name="Picture 4">
            <a:extLst>
              <a:ext uri="{FF2B5EF4-FFF2-40B4-BE49-F238E27FC236}">
                <a16:creationId xmlns:a16="http://schemas.microsoft.com/office/drawing/2014/main" id="{B6703FF2-B54D-4067-A582-B8E9177037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7415" y="2350653"/>
            <a:ext cx="3353982" cy="2830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90953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3089676"/>
            <a:ext cx="11881818" cy="543043"/>
          </a:xfrm>
        </p:spPr>
        <p:txBody>
          <a:bodyPr lIns="0"/>
          <a:lstStyle/>
          <a:p>
            <a:pPr lvl="0" algn="l" defTabSz="414589"/>
            <a:r>
              <a:rPr lang="en-US" sz="3200">
                <a:solidFill>
                  <a:srgbClr val="512654"/>
                </a:solidFill>
                <a:latin typeface="Palatino Linotype" panose="02040502050505030304" pitchFamily="18" charset="0"/>
              </a:rPr>
              <a:t>Poll One: Tell us about you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C29134-A6A3-AD46-9731-CC41B8986AD8}"/>
              </a:ext>
            </a:extLst>
          </p:cNvPr>
          <p:cNvSpPr>
            <a:spLocks noGrp="1"/>
          </p:cNvSpPr>
          <p:nvPr/>
        </p:nvSpPr>
        <p:spPr>
          <a:xfrm>
            <a:off x="782268" y="5295392"/>
            <a:ext cx="4080993" cy="804418"/>
          </a:xfrm>
          <a:prstGeom prst="rect">
            <a:avLst/>
          </a:prstGeom>
        </p:spPr>
        <p:txBody>
          <a:bodyPr/>
          <a:lstStyle>
            <a:lvl1pPr marL="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602B6111-ACF0-8949-ABBB-EECCD98563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2268" y="3838088"/>
            <a:ext cx="11938369" cy="317054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US" sz="2400" dirty="0">
                <a:solidFill>
                  <a:schemeClr val="accent1"/>
                </a:solidFill>
                <a:latin typeface="Trebuchet MS" panose="020B0603020202020204" pitchFamily="34" charset="0"/>
              </a:rPr>
              <a:t>“I am comfortable sharing my achievements”…</a:t>
            </a:r>
          </a:p>
          <a:p>
            <a:pPr algn="l">
              <a:spcBef>
                <a:spcPts val="450"/>
              </a:spcBef>
            </a:pPr>
            <a:endParaRPr lang="en-US" sz="24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r>
              <a:rPr lang="en-US" sz="2400" b="1" dirty="0">
                <a:solidFill>
                  <a:schemeClr val="accent1"/>
                </a:solidFill>
                <a:latin typeface="Trebuchet MS" panose="020B0603020202020204" pitchFamily="34" charset="0"/>
              </a:rPr>
              <a:t>: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813447E7-9D86-6E4E-981B-8751D36CE975}"/>
              </a:ext>
            </a:extLst>
          </p:cNvPr>
          <p:cNvSpPr>
            <a:spLocks noGrp="1"/>
          </p:cNvSpPr>
          <p:nvPr/>
        </p:nvSpPr>
        <p:spPr>
          <a:xfrm>
            <a:off x="782268" y="4633131"/>
            <a:ext cx="11036731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A - 		Yes, totally!</a:t>
            </a:r>
          </a:p>
          <a:p>
            <a:endParaRPr lang="en-US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D6CEEFA-E368-B74B-B216-6A4A9FAAE831}"/>
              </a:ext>
            </a:extLst>
          </p:cNvPr>
          <p:cNvSpPr>
            <a:spLocks noGrp="1"/>
          </p:cNvSpPr>
          <p:nvPr/>
        </p:nvSpPr>
        <p:spPr>
          <a:xfrm>
            <a:off x="768822" y="5130672"/>
            <a:ext cx="11050178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B - 		No, it’s cringe!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CC285947-568E-B743-A7D1-A23A0EB35FED}"/>
              </a:ext>
            </a:extLst>
          </p:cNvPr>
          <p:cNvSpPr>
            <a:spLocks noGrp="1"/>
          </p:cNvSpPr>
          <p:nvPr/>
        </p:nvSpPr>
        <p:spPr>
          <a:xfrm>
            <a:off x="768821" y="5628213"/>
            <a:ext cx="11050179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C - 		Sometimes</a:t>
            </a:r>
          </a:p>
        </p:txBody>
      </p:sp>
    </p:spTree>
    <p:extLst>
      <p:ext uri="{BB962C8B-B14F-4D97-AF65-F5344CB8AC3E}">
        <p14:creationId xmlns:p14="http://schemas.microsoft.com/office/powerpoint/2010/main" val="1135564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verywoman Master">
      <a:dk1>
        <a:srgbClr val="474D52"/>
      </a:dk1>
      <a:lt1>
        <a:sysClr val="window" lastClr="FFFFFF"/>
      </a:lt1>
      <a:dk2>
        <a:srgbClr val="3A1D3C"/>
      </a:dk2>
      <a:lt2>
        <a:srgbClr val="FFFFFE"/>
      </a:lt2>
      <a:accent1>
        <a:srgbClr val="7A3E7F"/>
      </a:accent1>
      <a:accent2>
        <a:srgbClr val="3A1D3C"/>
      </a:accent2>
      <a:accent3>
        <a:srgbClr val="7A3E7F"/>
      </a:accent3>
      <a:accent4>
        <a:srgbClr val="3A1D3C"/>
      </a:accent4>
      <a:accent5>
        <a:srgbClr val="7A3E7F"/>
      </a:accent5>
      <a:accent6>
        <a:srgbClr val="3A1D3C"/>
      </a:accent6>
      <a:hlink>
        <a:srgbClr val="7A3E7F"/>
      </a:hlink>
      <a:folHlink>
        <a:srgbClr val="3A1D3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13bc8d5f-976e-4ee4-8dfa-c1c3e2bfcca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8033A711D90040B3829C1AE45B138E" ma:contentTypeVersion="13" ma:contentTypeDescription="Create a new document." ma:contentTypeScope="" ma:versionID="c55fd9806ccf366581c39f6575989e1d">
  <xsd:schema xmlns:xsd="http://www.w3.org/2001/XMLSchema" xmlns:xs="http://www.w3.org/2001/XMLSchema" xmlns:p="http://schemas.microsoft.com/office/2006/metadata/properties" xmlns:ns2="13bc8d5f-976e-4ee4-8dfa-c1c3e2bfcca8" xmlns:ns3="436efcba-ea16-46f8-8b91-d64e6f1f03e5" targetNamespace="http://schemas.microsoft.com/office/2006/metadata/properties" ma:root="true" ma:fieldsID="36de0ba1ff767faeaa9f45077c5b3caf" ns2:_="" ns3:_="">
    <xsd:import namespace="13bc8d5f-976e-4ee4-8dfa-c1c3e2bfcca8"/>
    <xsd:import namespace="436efcba-ea16-46f8-8b91-d64e6f1f03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bc8d5f-976e-4ee4-8dfa-c1c3e2bfcc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Flow_SignoffStatus" ma:index="20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6efcba-ea16-46f8-8b91-d64e6f1f03e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D0D05C5-9432-44E8-8EC2-DFF7E7F9029E}">
  <ds:schemaRefs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dcmitype/"/>
    <ds:schemaRef ds:uri="436efcba-ea16-46f8-8b91-d64e6f1f03e5"/>
    <ds:schemaRef ds:uri="http://schemas.microsoft.com/office/2006/metadata/properties"/>
    <ds:schemaRef ds:uri="http://www.w3.org/XML/1998/namespace"/>
    <ds:schemaRef ds:uri="http://purl.org/dc/terms/"/>
    <ds:schemaRef ds:uri="http://schemas.openxmlformats.org/package/2006/metadata/core-properties"/>
    <ds:schemaRef ds:uri="13bc8d5f-976e-4ee4-8dfa-c1c3e2bfcca8"/>
  </ds:schemaRefs>
</ds:datastoreItem>
</file>

<file path=customXml/itemProps2.xml><?xml version="1.0" encoding="utf-8"?>
<ds:datastoreItem xmlns:ds="http://schemas.openxmlformats.org/officeDocument/2006/customXml" ds:itemID="{5BB11E14-E9E7-4026-8075-4E679BB0720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C35B0C-8492-45E5-B8AD-8BB7CBB5CBBF}">
  <ds:schemaRefs>
    <ds:schemaRef ds:uri="13bc8d5f-976e-4ee4-8dfa-c1c3e2bfcca8"/>
    <ds:schemaRef ds:uri="436efcba-ea16-46f8-8b91-d64e6f1f03e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8</Words>
  <Application>Microsoft Office PowerPoint</Application>
  <PresentationFormat>Custom</PresentationFormat>
  <Paragraphs>97</Paragraphs>
  <Slides>1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Calibri Light</vt:lpstr>
      <vt:lpstr>Lato Light</vt:lpstr>
      <vt:lpstr>Montserrat Light</vt:lpstr>
      <vt:lpstr>Palatino</vt:lpstr>
      <vt:lpstr>Palatino Linotype</vt:lpstr>
      <vt:lpstr>Trebuchet MS</vt:lpstr>
      <vt:lpstr>Office Theme</vt:lpstr>
      <vt:lpstr>2_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y self-promote?...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ppa Isbell</dc:creator>
  <cp:lastModifiedBy>Sophie Wannop</cp:lastModifiedBy>
  <cp:revision>4</cp:revision>
  <cp:lastPrinted>2020-10-15T17:25:22Z</cp:lastPrinted>
  <dcterms:created xsi:type="dcterms:W3CDTF">2020-09-15T16:50:45Z</dcterms:created>
  <dcterms:modified xsi:type="dcterms:W3CDTF">2020-11-25T09:3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8033A711D90040B3829C1AE45B138E</vt:lpwstr>
  </property>
</Properties>
</file>